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660" r:id="rId5"/>
  </p:sldMasterIdLst>
  <p:notesMasterIdLst>
    <p:notesMasterId r:id="rId22"/>
  </p:notesMasterIdLst>
  <p:sldIdLst>
    <p:sldId id="256" r:id="rId6"/>
    <p:sldId id="257" r:id="rId7"/>
    <p:sldId id="1879" r:id="rId8"/>
    <p:sldId id="258" r:id="rId9"/>
    <p:sldId id="259" r:id="rId10"/>
    <p:sldId id="260" r:id="rId11"/>
    <p:sldId id="261" r:id="rId12"/>
    <p:sldId id="262" r:id="rId13"/>
    <p:sldId id="263" r:id="rId14"/>
    <p:sldId id="264" r:id="rId15"/>
    <p:sldId id="265" r:id="rId16"/>
    <p:sldId id="266" r:id="rId17"/>
    <p:sldId id="267" r:id="rId18"/>
    <p:sldId id="268" r:id="rId19"/>
    <p:sldId id="1872" r:id="rId20"/>
    <p:sldId id="1878" r:id="rId2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66D1639-7FD1-43DD-A780-59A110419F5F}" v="2874" dt="2020-08-06T17:32:05.92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45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408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notesMaster" Target="notesMasters/notesMaster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rnie Matson" userId="b15bad87-9922-4920-a37d-ee39c3d298da" providerId="ADAL" clId="{B66D1639-7FD1-43DD-A780-59A110419F5F}"/>
    <pc:docChg chg="undo custSel addSld delSld modSld sldOrd modMainMaster">
      <pc:chgData name="Arnie Matson" userId="b15bad87-9922-4920-a37d-ee39c3d298da" providerId="ADAL" clId="{B66D1639-7FD1-43DD-A780-59A110419F5F}" dt="2020-08-06T17:32:13.449" v="4936" actId="20577"/>
      <pc:docMkLst>
        <pc:docMk/>
      </pc:docMkLst>
      <pc:sldChg chg="modSp">
        <pc:chgData name="Arnie Matson" userId="b15bad87-9922-4920-a37d-ee39c3d298da" providerId="ADAL" clId="{B66D1639-7FD1-43DD-A780-59A110419F5F}" dt="2020-07-31T17:35:25.331" v="4565" actId="20577"/>
        <pc:sldMkLst>
          <pc:docMk/>
          <pc:sldMk cId="3828634850" sldId="256"/>
        </pc:sldMkLst>
        <pc:spChg chg="mod">
          <ac:chgData name="Arnie Matson" userId="b15bad87-9922-4920-a37d-ee39c3d298da" providerId="ADAL" clId="{B66D1639-7FD1-43DD-A780-59A110419F5F}" dt="2020-07-31T17:35:25.331" v="4565" actId="20577"/>
          <ac:spMkLst>
            <pc:docMk/>
            <pc:sldMk cId="3828634850" sldId="256"/>
            <ac:spMk id="2" creationId="{C80BB6E8-CA7E-4337-8749-4A7BFFC5DCA4}"/>
          </ac:spMkLst>
        </pc:spChg>
        <pc:spChg chg="mod">
          <ac:chgData name="Arnie Matson" userId="b15bad87-9922-4920-a37d-ee39c3d298da" providerId="ADAL" clId="{B66D1639-7FD1-43DD-A780-59A110419F5F}" dt="2020-07-29T13:52:49.795" v="125" actId="207"/>
          <ac:spMkLst>
            <pc:docMk/>
            <pc:sldMk cId="3828634850" sldId="256"/>
            <ac:spMk id="3" creationId="{455AC778-0F54-4038-835F-0897B6E14CB0}"/>
          </ac:spMkLst>
        </pc:spChg>
      </pc:sldChg>
      <pc:sldChg chg="addSp delSp modSp add">
        <pc:chgData name="Arnie Matson" userId="b15bad87-9922-4920-a37d-ee39c3d298da" providerId="ADAL" clId="{B66D1639-7FD1-43DD-A780-59A110419F5F}" dt="2020-07-29T14:04:03.787" v="307" actId="20577"/>
        <pc:sldMkLst>
          <pc:docMk/>
          <pc:sldMk cId="3856342951" sldId="257"/>
        </pc:sldMkLst>
        <pc:spChg chg="mod">
          <ac:chgData name="Arnie Matson" userId="b15bad87-9922-4920-a37d-ee39c3d298da" providerId="ADAL" clId="{B66D1639-7FD1-43DD-A780-59A110419F5F}" dt="2020-07-29T13:55:18.182" v="141" actId="20577"/>
          <ac:spMkLst>
            <pc:docMk/>
            <pc:sldMk cId="3856342951" sldId="257"/>
            <ac:spMk id="2" creationId="{A1581550-0104-47F1-8094-06892A791E70}"/>
          </ac:spMkLst>
        </pc:spChg>
        <pc:spChg chg="mod">
          <ac:chgData name="Arnie Matson" userId="b15bad87-9922-4920-a37d-ee39c3d298da" providerId="ADAL" clId="{B66D1639-7FD1-43DD-A780-59A110419F5F}" dt="2020-07-29T14:04:03.787" v="307" actId="20577"/>
          <ac:spMkLst>
            <pc:docMk/>
            <pc:sldMk cId="3856342951" sldId="257"/>
            <ac:spMk id="3" creationId="{8449992B-3B85-4EE6-8C86-4B9E11B2B895}"/>
          </ac:spMkLst>
        </pc:spChg>
        <pc:spChg chg="add">
          <ac:chgData name="Arnie Matson" userId="b15bad87-9922-4920-a37d-ee39c3d298da" providerId="ADAL" clId="{B66D1639-7FD1-43DD-A780-59A110419F5F}" dt="2020-07-29T14:02:30.817" v="272"/>
          <ac:spMkLst>
            <pc:docMk/>
            <pc:sldMk cId="3856342951" sldId="257"/>
            <ac:spMk id="7" creationId="{75ECDA03-8B39-49C3-B6F0-68F555D45037}"/>
          </ac:spMkLst>
        </pc:spChg>
        <pc:picChg chg="add del mod">
          <ac:chgData name="Arnie Matson" userId="b15bad87-9922-4920-a37d-ee39c3d298da" providerId="ADAL" clId="{B66D1639-7FD1-43DD-A780-59A110419F5F}" dt="2020-07-29T14:00:07.326" v="270" actId="478"/>
          <ac:picMkLst>
            <pc:docMk/>
            <pc:sldMk cId="3856342951" sldId="257"/>
            <ac:picMk id="5" creationId="{0667979F-2782-4BE5-92F0-5DD4F4249E48}"/>
          </ac:picMkLst>
        </pc:picChg>
        <pc:picChg chg="add mod">
          <ac:chgData name="Arnie Matson" userId="b15bad87-9922-4920-a37d-ee39c3d298da" providerId="ADAL" clId="{B66D1639-7FD1-43DD-A780-59A110419F5F}" dt="2020-07-29T14:02:49.543" v="277" actId="1076"/>
          <ac:picMkLst>
            <pc:docMk/>
            <pc:sldMk cId="3856342951" sldId="257"/>
            <ac:picMk id="6" creationId="{06373929-AF0D-4FE1-9AF6-C9BB9850245F}"/>
          </ac:picMkLst>
        </pc:picChg>
        <pc:picChg chg="add del mod">
          <ac:chgData name="Arnie Matson" userId="b15bad87-9922-4920-a37d-ee39c3d298da" providerId="ADAL" clId="{B66D1639-7FD1-43DD-A780-59A110419F5F}" dt="2020-07-29T14:03:32.274" v="280" actId="478"/>
          <ac:picMkLst>
            <pc:docMk/>
            <pc:sldMk cId="3856342951" sldId="257"/>
            <ac:picMk id="8" creationId="{5CFE2033-F87D-43AD-B85C-A3DB8104DA1F}"/>
          </ac:picMkLst>
        </pc:picChg>
        <pc:picChg chg="add mod">
          <ac:chgData name="Arnie Matson" userId="b15bad87-9922-4920-a37d-ee39c3d298da" providerId="ADAL" clId="{B66D1639-7FD1-43DD-A780-59A110419F5F}" dt="2020-07-29T14:03:47.541" v="285" actId="1076"/>
          <ac:picMkLst>
            <pc:docMk/>
            <pc:sldMk cId="3856342951" sldId="257"/>
            <ac:picMk id="9" creationId="{FBB153F3-99C5-4AE2-AB57-8F3F4D897AB6}"/>
          </ac:picMkLst>
        </pc:picChg>
      </pc:sldChg>
      <pc:sldChg chg="modSp add modAnim">
        <pc:chgData name="Arnie Matson" userId="b15bad87-9922-4920-a37d-ee39c3d298da" providerId="ADAL" clId="{B66D1639-7FD1-43DD-A780-59A110419F5F}" dt="2020-08-06T13:04:34.287" v="4827" actId="20577"/>
        <pc:sldMkLst>
          <pc:docMk/>
          <pc:sldMk cId="3644516189" sldId="258"/>
        </pc:sldMkLst>
        <pc:spChg chg="mod">
          <ac:chgData name="Arnie Matson" userId="b15bad87-9922-4920-a37d-ee39c3d298da" providerId="ADAL" clId="{B66D1639-7FD1-43DD-A780-59A110419F5F}" dt="2020-08-05T19:53:47.254" v="4606" actId="20577"/>
          <ac:spMkLst>
            <pc:docMk/>
            <pc:sldMk cId="3644516189" sldId="258"/>
            <ac:spMk id="2" creationId="{E57D15B5-7627-436F-BC0C-DAE12514DEC3}"/>
          </ac:spMkLst>
        </pc:spChg>
        <pc:spChg chg="mod">
          <ac:chgData name="Arnie Matson" userId="b15bad87-9922-4920-a37d-ee39c3d298da" providerId="ADAL" clId="{B66D1639-7FD1-43DD-A780-59A110419F5F}" dt="2020-08-06T13:04:34.287" v="4827" actId="20577"/>
          <ac:spMkLst>
            <pc:docMk/>
            <pc:sldMk cId="3644516189" sldId="258"/>
            <ac:spMk id="3" creationId="{C54D2F83-DEEE-42F2-A1A8-C0D9CEA93157}"/>
          </ac:spMkLst>
        </pc:spChg>
      </pc:sldChg>
      <pc:sldChg chg="addSp delSp modSp add modAnim">
        <pc:chgData name="Arnie Matson" userId="b15bad87-9922-4920-a37d-ee39c3d298da" providerId="ADAL" clId="{B66D1639-7FD1-43DD-A780-59A110419F5F}" dt="2020-08-06T17:32:13.449" v="4936" actId="20577"/>
        <pc:sldMkLst>
          <pc:docMk/>
          <pc:sldMk cId="1975628166" sldId="259"/>
        </pc:sldMkLst>
        <pc:spChg chg="mod">
          <ac:chgData name="Arnie Matson" userId="b15bad87-9922-4920-a37d-ee39c3d298da" providerId="ADAL" clId="{B66D1639-7FD1-43DD-A780-59A110419F5F}" dt="2020-07-30T19:44:35.389" v="2810" actId="113"/>
          <ac:spMkLst>
            <pc:docMk/>
            <pc:sldMk cId="1975628166" sldId="259"/>
            <ac:spMk id="2" creationId="{AA62D8A1-F545-4108-AA87-4A7606A149FA}"/>
          </ac:spMkLst>
        </pc:spChg>
        <pc:spChg chg="del mod">
          <ac:chgData name="Arnie Matson" userId="b15bad87-9922-4920-a37d-ee39c3d298da" providerId="ADAL" clId="{B66D1639-7FD1-43DD-A780-59A110419F5F}" dt="2020-07-30T18:30:21.138" v="1072" actId="478"/>
          <ac:spMkLst>
            <pc:docMk/>
            <pc:sldMk cId="1975628166" sldId="259"/>
            <ac:spMk id="3" creationId="{6F0D89E2-91ED-48E4-AE40-B70E065E47D5}"/>
          </ac:spMkLst>
        </pc:spChg>
        <pc:spChg chg="add del mod">
          <ac:chgData name="Arnie Matson" userId="b15bad87-9922-4920-a37d-ee39c3d298da" providerId="ADAL" clId="{B66D1639-7FD1-43DD-A780-59A110419F5F}" dt="2020-07-30T18:30:26.218" v="1073" actId="478"/>
          <ac:spMkLst>
            <pc:docMk/>
            <pc:sldMk cId="1975628166" sldId="259"/>
            <ac:spMk id="5" creationId="{3AB4A71B-9FD6-40C8-97D9-F0468F5922C5}"/>
          </ac:spMkLst>
        </pc:spChg>
        <pc:spChg chg="add mod topLvl">
          <ac:chgData name="Arnie Matson" userId="b15bad87-9922-4920-a37d-ee39c3d298da" providerId="ADAL" clId="{B66D1639-7FD1-43DD-A780-59A110419F5F}" dt="2020-08-06T17:31:27.259" v="4934"/>
          <ac:spMkLst>
            <pc:docMk/>
            <pc:sldMk cId="1975628166" sldId="259"/>
            <ac:spMk id="6" creationId="{6AEEF9BF-72F5-4591-9C0A-2DDD58E5CA5D}"/>
          </ac:spMkLst>
        </pc:spChg>
        <pc:spChg chg="add mod topLvl">
          <ac:chgData name="Arnie Matson" userId="b15bad87-9922-4920-a37d-ee39c3d298da" providerId="ADAL" clId="{B66D1639-7FD1-43DD-A780-59A110419F5F}" dt="2020-08-06T17:32:13.449" v="4936" actId="20577"/>
          <ac:spMkLst>
            <pc:docMk/>
            <pc:sldMk cId="1975628166" sldId="259"/>
            <ac:spMk id="7" creationId="{B10FAEAE-6B7B-477A-B472-EBAC6847FF61}"/>
          </ac:spMkLst>
        </pc:spChg>
        <pc:spChg chg="add mod topLvl">
          <ac:chgData name="Arnie Matson" userId="b15bad87-9922-4920-a37d-ee39c3d298da" providerId="ADAL" clId="{B66D1639-7FD1-43DD-A780-59A110419F5F}" dt="2020-08-06T12:57:53.980" v="4815" actId="164"/>
          <ac:spMkLst>
            <pc:docMk/>
            <pc:sldMk cId="1975628166" sldId="259"/>
            <ac:spMk id="8" creationId="{F9D7E05B-8917-4933-BE57-D7E7AC65CDA1}"/>
          </ac:spMkLst>
        </pc:spChg>
        <pc:spChg chg="add mod topLvl">
          <ac:chgData name="Arnie Matson" userId="b15bad87-9922-4920-a37d-ee39c3d298da" providerId="ADAL" clId="{B66D1639-7FD1-43DD-A780-59A110419F5F}" dt="2020-08-06T13:01:26.045" v="4818" actId="164"/>
          <ac:spMkLst>
            <pc:docMk/>
            <pc:sldMk cId="1975628166" sldId="259"/>
            <ac:spMk id="9" creationId="{43BDB266-EC50-4FBD-8BD4-63122230D0B1}"/>
          </ac:spMkLst>
        </pc:spChg>
        <pc:spChg chg="add mod">
          <ac:chgData name="Arnie Matson" userId="b15bad87-9922-4920-a37d-ee39c3d298da" providerId="ADAL" clId="{B66D1639-7FD1-43DD-A780-59A110419F5F}" dt="2020-07-30T18:41:34.014" v="1361" actId="1076"/>
          <ac:spMkLst>
            <pc:docMk/>
            <pc:sldMk cId="1975628166" sldId="259"/>
            <ac:spMk id="10" creationId="{3C17CFB4-9091-4B66-93D1-A8B8A623061F}"/>
          </ac:spMkLst>
        </pc:spChg>
        <pc:spChg chg="add mod topLvl">
          <ac:chgData name="Arnie Matson" userId="b15bad87-9922-4920-a37d-ee39c3d298da" providerId="ADAL" clId="{B66D1639-7FD1-43DD-A780-59A110419F5F}" dt="2020-08-06T12:57:53.980" v="4815" actId="164"/>
          <ac:spMkLst>
            <pc:docMk/>
            <pc:sldMk cId="1975628166" sldId="259"/>
            <ac:spMk id="11" creationId="{E49D9F46-BB18-4C5D-BB07-909973E9B231}"/>
          </ac:spMkLst>
        </pc:spChg>
        <pc:spChg chg="add mod">
          <ac:chgData name="Arnie Matson" userId="b15bad87-9922-4920-a37d-ee39c3d298da" providerId="ADAL" clId="{B66D1639-7FD1-43DD-A780-59A110419F5F}" dt="2020-07-30T18:46:19.800" v="1412" actId="207"/>
          <ac:spMkLst>
            <pc:docMk/>
            <pc:sldMk cId="1975628166" sldId="259"/>
            <ac:spMk id="23" creationId="{DE568FE8-7738-4644-910C-ED30421FEEE0}"/>
          </ac:spMkLst>
        </pc:spChg>
        <pc:spChg chg="add mod topLvl">
          <ac:chgData name="Arnie Matson" userId="b15bad87-9922-4920-a37d-ee39c3d298da" providerId="ADAL" clId="{B66D1639-7FD1-43DD-A780-59A110419F5F}" dt="2020-08-06T13:01:26.045" v="4818" actId="164"/>
          <ac:spMkLst>
            <pc:docMk/>
            <pc:sldMk cId="1975628166" sldId="259"/>
            <ac:spMk id="26" creationId="{7ABFD7D5-8833-44DB-8E48-0D3599B350A1}"/>
          </ac:spMkLst>
        </pc:spChg>
        <pc:grpChg chg="add mod">
          <ac:chgData name="Arnie Matson" userId="b15bad87-9922-4920-a37d-ee39c3d298da" providerId="ADAL" clId="{B66D1639-7FD1-43DD-A780-59A110419F5F}" dt="2020-08-06T12:57:53.980" v="4815" actId="164"/>
          <ac:grpSpMkLst>
            <pc:docMk/>
            <pc:sldMk cId="1975628166" sldId="259"/>
            <ac:grpSpMk id="5" creationId="{AC30702C-C4EA-42B5-8084-B4A0A21072A4}"/>
          </ac:grpSpMkLst>
        </pc:grpChg>
        <pc:grpChg chg="add mod">
          <ac:chgData name="Arnie Matson" userId="b15bad87-9922-4920-a37d-ee39c3d298da" providerId="ADAL" clId="{B66D1639-7FD1-43DD-A780-59A110419F5F}" dt="2020-08-06T12:58:04.358" v="4816" actId="164"/>
          <ac:grpSpMkLst>
            <pc:docMk/>
            <pc:sldMk cId="1975628166" sldId="259"/>
            <ac:grpSpMk id="12" creationId="{808672AC-7CFA-4EAB-9AE6-CD1772E4C1AA}"/>
          </ac:grpSpMkLst>
        </pc:grpChg>
        <pc:grpChg chg="add mod">
          <ac:chgData name="Arnie Matson" userId="b15bad87-9922-4920-a37d-ee39c3d298da" providerId="ADAL" clId="{B66D1639-7FD1-43DD-A780-59A110419F5F}" dt="2020-08-06T13:01:26.045" v="4818" actId="164"/>
          <ac:grpSpMkLst>
            <pc:docMk/>
            <pc:sldMk cId="1975628166" sldId="259"/>
            <ac:grpSpMk id="15" creationId="{BA5CEB7A-0382-4EF7-AE5F-F471A988074F}"/>
          </ac:grpSpMkLst>
        </pc:grpChg>
        <pc:grpChg chg="add del mod">
          <ac:chgData name="Arnie Matson" userId="b15bad87-9922-4920-a37d-ee39c3d298da" providerId="ADAL" clId="{B66D1639-7FD1-43DD-A780-59A110419F5F}" dt="2020-07-30T18:59:53.856" v="1451" actId="165"/>
          <ac:grpSpMkLst>
            <pc:docMk/>
            <pc:sldMk cId="1975628166" sldId="259"/>
            <ac:grpSpMk id="27" creationId="{FAD02CE3-F826-42FF-A38F-6B30521D0EAF}"/>
          </ac:grpSpMkLst>
        </pc:grpChg>
        <pc:grpChg chg="add del mod">
          <ac:chgData name="Arnie Matson" userId="b15bad87-9922-4920-a37d-ee39c3d298da" providerId="ADAL" clId="{B66D1639-7FD1-43DD-A780-59A110419F5F}" dt="2020-07-30T19:05:56.067" v="1466" actId="165"/>
          <ac:grpSpMkLst>
            <pc:docMk/>
            <pc:sldMk cId="1975628166" sldId="259"/>
            <ac:grpSpMk id="28" creationId="{54E26B53-7E5B-4BB5-A736-7AF7929FD1CA}"/>
          </ac:grpSpMkLst>
        </pc:grpChg>
        <pc:grpChg chg="add del mod">
          <ac:chgData name="Arnie Matson" userId="b15bad87-9922-4920-a37d-ee39c3d298da" providerId="ADAL" clId="{B66D1639-7FD1-43DD-A780-59A110419F5F}" dt="2020-08-06T12:57:13.071" v="4812" actId="165"/>
          <ac:grpSpMkLst>
            <pc:docMk/>
            <pc:sldMk cId="1975628166" sldId="259"/>
            <ac:grpSpMk id="29" creationId="{1E16F4DC-CC47-4170-BAAC-A96EF9BCAC19}"/>
          </ac:grpSpMkLst>
        </pc:grpChg>
        <pc:grpChg chg="add del mod topLvl">
          <ac:chgData name="Arnie Matson" userId="b15bad87-9922-4920-a37d-ee39c3d298da" providerId="ADAL" clId="{B66D1639-7FD1-43DD-A780-59A110419F5F}" dt="2020-08-06T12:57:31.331" v="4813" actId="165"/>
          <ac:grpSpMkLst>
            <pc:docMk/>
            <pc:sldMk cId="1975628166" sldId="259"/>
            <ac:grpSpMk id="30" creationId="{D86001C5-A4CD-424E-B580-EF95B9B4B4CA}"/>
          </ac:grpSpMkLst>
        </pc:grpChg>
        <pc:grpChg chg="add del mod">
          <ac:chgData name="Arnie Matson" userId="b15bad87-9922-4920-a37d-ee39c3d298da" providerId="ADAL" clId="{B66D1639-7FD1-43DD-A780-59A110419F5F}" dt="2020-08-06T12:57:46.372" v="4814" actId="165"/>
          <ac:grpSpMkLst>
            <pc:docMk/>
            <pc:sldMk cId="1975628166" sldId="259"/>
            <ac:grpSpMk id="31" creationId="{7792E042-E032-4EF7-A5EB-3073C2DADB47}"/>
          </ac:grpSpMkLst>
        </pc:grpChg>
        <pc:grpChg chg="add del mod">
          <ac:chgData name="Arnie Matson" userId="b15bad87-9922-4920-a37d-ee39c3d298da" providerId="ADAL" clId="{B66D1639-7FD1-43DD-A780-59A110419F5F}" dt="2020-08-06T12:57:02.952" v="4811" actId="165"/>
          <ac:grpSpMkLst>
            <pc:docMk/>
            <pc:sldMk cId="1975628166" sldId="259"/>
            <ac:grpSpMk id="32" creationId="{0AF52CE3-4032-48AC-9468-21DA0EC81B59}"/>
          </ac:grpSpMkLst>
        </pc:grpChg>
        <pc:cxnChg chg="add mod topLvl">
          <ac:chgData name="Arnie Matson" userId="b15bad87-9922-4920-a37d-ee39c3d298da" providerId="ADAL" clId="{B66D1639-7FD1-43DD-A780-59A110419F5F}" dt="2020-08-06T13:01:26.045" v="4818" actId="164"/>
          <ac:cxnSpMkLst>
            <pc:docMk/>
            <pc:sldMk cId="1975628166" sldId="259"/>
            <ac:cxnSpMk id="13" creationId="{4887901C-2FC4-4C92-9A18-EA53408DF107}"/>
          </ac:cxnSpMkLst>
        </pc:cxnChg>
        <pc:cxnChg chg="add mod topLvl">
          <ac:chgData name="Arnie Matson" userId="b15bad87-9922-4920-a37d-ee39c3d298da" providerId="ADAL" clId="{B66D1639-7FD1-43DD-A780-59A110419F5F}" dt="2020-08-06T13:01:26.045" v="4818" actId="164"/>
          <ac:cxnSpMkLst>
            <pc:docMk/>
            <pc:sldMk cId="1975628166" sldId="259"/>
            <ac:cxnSpMk id="14" creationId="{C3835817-E6D4-4436-846D-03504D0E4496}"/>
          </ac:cxnSpMkLst>
        </pc:cxnChg>
        <pc:cxnChg chg="add mod topLvl">
          <ac:chgData name="Arnie Matson" userId="b15bad87-9922-4920-a37d-ee39c3d298da" providerId="ADAL" clId="{B66D1639-7FD1-43DD-A780-59A110419F5F}" dt="2020-08-06T13:01:26.045" v="4818" actId="164"/>
          <ac:cxnSpMkLst>
            <pc:docMk/>
            <pc:sldMk cId="1975628166" sldId="259"/>
            <ac:cxnSpMk id="17" creationId="{C536D93A-04F7-4052-BC03-CA28BD13581F}"/>
          </ac:cxnSpMkLst>
        </pc:cxnChg>
        <pc:cxnChg chg="add mod topLvl">
          <ac:chgData name="Arnie Matson" userId="b15bad87-9922-4920-a37d-ee39c3d298da" providerId="ADAL" clId="{B66D1639-7FD1-43DD-A780-59A110419F5F}" dt="2020-08-06T12:57:53.980" v="4815" actId="164"/>
          <ac:cxnSpMkLst>
            <pc:docMk/>
            <pc:sldMk cId="1975628166" sldId="259"/>
            <ac:cxnSpMk id="20" creationId="{BAEEC697-DA08-4AD9-B247-178977BEE38B}"/>
          </ac:cxnSpMkLst>
        </pc:cxnChg>
        <pc:cxnChg chg="add mod topLvl">
          <ac:chgData name="Arnie Matson" userId="b15bad87-9922-4920-a37d-ee39c3d298da" providerId="ADAL" clId="{B66D1639-7FD1-43DD-A780-59A110419F5F}" dt="2020-08-06T12:57:53.980" v="4815" actId="164"/>
          <ac:cxnSpMkLst>
            <pc:docMk/>
            <pc:sldMk cId="1975628166" sldId="259"/>
            <ac:cxnSpMk id="22" creationId="{0898E86D-2C4A-49B2-BD4C-94EE91EEFE1A}"/>
          </ac:cxnSpMkLst>
        </pc:cxnChg>
        <pc:cxnChg chg="add mod topLvl">
          <ac:chgData name="Arnie Matson" userId="b15bad87-9922-4920-a37d-ee39c3d298da" providerId="ADAL" clId="{B66D1639-7FD1-43DD-A780-59A110419F5F}" dt="2020-08-06T13:01:26.045" v="4818" actId="164"/>
          <ac:cxnSpMkLst>
            <pc:docMk/>
            <pc:sldMk cId="1975628166" sldId="259"/>
            <ac:cxnSpMk id="25" creationId="{C86F932C-A609-4DC0-B304-FB78C9D173D5}"/>
          </ac:cxnSpMkLst>
        </pc:cxnChg>
      </pc:sldChg>
      <pc:sldChg chg="addSp delSp modSp add delAnim modAnim">
        <pc:chgData name="Arnie Matson" userId="b15bad87-9922-4920-a37d-ee39c3d298da" providerId="ADAL" clId="{B66D1639-7FD1-43DD-A780-59A110419F5F}" dt="2020-08-06T13:04:48.827" v="4833" actId="20577"/>
        <pc:sldMkLst>
          <pc:docMk/>
          <pc:sldMk cId="4273030314" sldId="260"/>
        </pc:sldMkLst>
        <pc:spChg chg="mod">
          <ac:chgData name="Arnie Matson" userId="b15bad87-9922-4920-a37d-ee39c3d298da" providerId="ADAL" clId="{B66D1639-7FD1-43DD-A780-59A110419F5F}" dt="2020-07-30T19:44:30.711" v="2809" actId="113"/>
          <ac:spMkLst>
            <pc:docMk/>
            <pc:sldMk cId="4273030314" sldId="260"/>
            <ac:spMk id="2" creationId="{AA62D8A1-F545-4108-AA87-4A7606A149FA}"/>
          </ac:spMkLst>
        </pc:spChg>
        <pc:spChg chg="del">
          <ac:chgData name="Arnie Matson" userId="b15bad87-9922-4920-a37d-ee39c3d298da" providerId="ADAL" clId="{B66D1639-7FD1-43DD-A780-59A110419F5F}" dt="2020-07-30T19:10:29.784" v="1477" actId="478"/>
          <ac:spMkLst>
            <pc:docMk/>
            <pc:sldMk cId="4273030314" sldId="260"/>
            <ac:spMk id="6" creationId="{6AEEF9BF-72F5-4591-9C0A-2DDD58E5CA5D}"/>
          </ac:spMkLst>
        </pc:spChg>
        <pc:spChg chg="mod">
          <ac:chgData name="Arnie Matson" userId="b15bad87-9922-4920-a37d-ee39c3d298da" providerId="ADAL" clId="{B66D1639-7FD1-43DD-A780-59A110419F5F}" dt="2020-07-30T19:10:36.146" v="1479" actId="6549"/>
          <ac:spMkLst>
            <pc:docMk/>
            <pc:sldMk cId="4273030314" sldId="260"/>
            <ac:spMk id="7" creationId="{B10FAEAE-6B7B-477A-B472-EBAC6847FF61}"/>
          </ac:spMkLst>
        </pc:spChg>
        <pc:spChg chg="del">
          <ac:chgData name="Arnie Matson" userId="b15bad87-9922-4920-a37d-ee39c3d298da" providerId="ADAL" clId="{B66D1639-7FD1-43DD-A780-59A110419F5F}" dt="2020-07-30T19:10:29.784" v="1477" actId="478"/>
          <ac:spMkLst>
            <pc:docMk/>
            <pc:sldMk cId="4273030314" sldId="260"/>
            <ac:spMk id="10" creationId="{3C17CFB4-9091-4B66-93D1-A8B8A623061F}"/>
          </ac:spMkLst>
        </pc:spChg>
        <pc:spChg chg="add mod">
          <ac:chgData name="Arnie Matson" userId="b15bad87-9922-4920-a37d-ee39c3d298da" providerId="ADAL" clId="{B66D1639-7FD1-43DD-A780-59A110419F5F}" dt="2020-08-06T13:04:48.827" v="4833" actId="20577"/>
          <ac:spMkLst>
            <pc:docMk/>
            <pc:sldMk cId="4273030314" sldId="260"/>
            <ac:spMk id="21" creationId="{D356577A-99FF-4968-ACB1-15BED8DAF556}"/>
          </ac:spMkLst>
        </pc:spChg>
        <pc:spChg chg="del mod">
          <ac:chgData name="Arnie Matson" userId="b15bad87-9922-4920-a37d-ee39c3d298da" providerId="ADAL" clId="{B66D1639-7FD1-43DD-A780-59A110419F5F}" dt="2020-07-30T19:10:39.975" v="1482" actId="478"/>
          <ac:spMkLst>
            <pc:docMk/>
            <pc:sldMk cId="4273030314" sldId="260"/>
            <ac:spMk id="23" creationId="{DE568FE8-7738-4644-910C-ED30421FEEE0}"/>
          </ac:spMkLst>
        </pc:spChg>
        <pc:grpChg chg="del">
          <ac:chgData name="Arnie Matson" userId="b15bad87-9922-4920-a37d-ee39c3d298da" providerId="ADAL" clId="{B66D1639-7FD1-43DD-A780-59A110419F5F}" dt="2020-07-30T19:10:37.449" v="1480" actId="478"/>
          <ac:grpSpMkLst>
            <pc:docMk/>
            <pc:sldMk cId="4273030314" sldId="260"/>
            <ac:grpSpMk id="29" creationId="{1E16F4DC-CC47-4170-BAAC-A96EF9BCAC19}"/>
          </ac:grpSpMkLst>
        </pc:grpChg>
        <pc:grpChg chg="del">
          <ac:chgData name="Arnie Matson" userId="b15bad87-9922-4920-a37d-ee39c3d298da" providerId="ADAL" clId="{B66D1639-7FD1-43DD-A780-59A110419F5F}" dt="2020-07-30T19:10:29.784" v="1477" actId="478"/>
          <ac:grpSpMkLst>
            <pc:docMk/>
            <pc:sldMk cId="4273030314" sldId="260"/>
            <ac:grpSpMk id="31" creationId="{7792E042-E032-4EF7-A5EB-3073C2DADB47}"/>
          </ac:grpSpMkLst>
        </pc:grpChg>
        <pc:grpChg chg="del">
          <ac:chgData name="Arnie Matson" userId="b15bad87-9922-4920-a37d-ee39c3d298da" providerId="ADAL" clId="{B66D1639-7FD1-43DD-A780-59A110419F5F}" dt="2020-07-30T19:10:38.581" v="1481" actId="478"/>
          <ac:grpSpMkLst>
            <pc:docMk/>
            <pc:sldMk cId="4273030314" sldId="260"/>
            <ac:grpSpMk id="32" creationId="{0AF52CE3-4032-48AC-9468-21DA0EC81B59}"/>
          </ac:grpSpMkLst>
        </pc:grpChg>
        <pc:cxnChg chg="mod">
          <ac:chgData name="Arnie Matson" userId="b15bad87-9922-4920-a37d-ee39c3d298da" providerId="ADAL" clId="{B66D1639-7FD1-43DD-A780-59A110419F5F}" dt="2020-07-30T19:10:37.449" v="1480" actId="478"/>
          <ac:cxnSpMkLst>
            <pc:docMk/>
            <pc:sldMk cId="4273030314" sldId="260"/>
            <ac:cxnSpMk id="13" creationId="{4887901C-2FC4-4C92-9A18-EA53408DF107}"/>
          </ac:cxnSpMkLst>
        </pc:cxnChg>
        <pc:cxnChg chg="mod">
          <ac:chgData name="Arnie Matson" userId="b15bad87-9922-4920-a37d-ee39c3d298da" providerId="ADAL" clId="{B66D1639-7FD1-43DD-A780-59A110419F5F}" dt="2020-07-30T19:10:38.581" v="1481" actId="478"/>
          <ac:cxnSpMkLst>
            <pc:docMk/>
            <pc:sldMk cId="4273030314" sldId="260"/>
            <ac:cxnSpMk id="14" creationId="{C3835817-E6D4-4436-846D-03504D0E4496}"/>
          </ac:cxnSpMkLst>
        </pc:cxnChg>
        <pc:cxnChg chg="mod">
          <ac:chgData name="Arnie Matson" userId="b15bad87-9922-4920-a37d-ee39c3d298da" providerId="ADAL" clId="{B66D1639-7FD1-43DD-A780-59A110419F5F}" dt="2020-07-30T19:10:29.784" v="1477" actId="478"/>
          <ac:cxnSpMkLst>
            <pc:docMk/>
            <pc:sldMk cId="4273030314" sldId="260"/>
            <ac:cxnSpMk id="17" creationId="{C536D93A-04F7-4052-BC03-CA28BD13581F}"/>
          </ac:cxnSpMkLst>
        </pc:cxnChg>
        <pc:cxnChg chg="mod">
          <ac:chgData name="Arnie Matson" userId="b15bad87-9922-4920-a37d-ee39c3d298da" providerId="ADAL" clId="{B66D1639-7FD1-43DD-A780-59A110419F5F}" dt="2020-07-30T19:10:29.784" v="1477" actId="478"/>
          <ac:cxnSpMkLst>
            <pc:docMk/>
            <pc:sldMk cId="4273030314" sldId="260"/>
            <ac:cxnSpMk id="20" creationId="{BAEEC697-DA08-4AD9-B247-178977BEE38B}"/>
          </ac:cxnSpMkLst>
        </pc:cxnChg>
        <pc:cxnChg chg="mod">
          <ac:chgData name="Arnie Matson" userId="b15bad87-9922-4920-a37d-ee39c3d298da" providerId="ADAL" clId="{B66D1639-7FD1-43DD-A780-59A110419F5F}" dt="2020-07-30T19:10:37.449" v="1480" actId="478"/>
          <ac:cxnSpMkLst>
            <pc:docMk/>
            <pc:sldMk cId="4273030314" sldId="260"/>
            <ac:cxnSpMk id="25" creationId="{C86F932C-A609-4DC0-B304-FB78C9D173D5}"/>
          </ac:cxnSpMkLst>
        </pc:cxnChg>
      </pc:sldChg>
      <pc:sldChg chg="addSp delSp modSp add delAnim">
        <pc:chgData name="Arnie Matson" userId="b15bad87-9922-4920-a37d-ee39c3d298da" providerId="ADAL" clId="{B66D1639-7FD1-43DD-A780-59A110419F5F}" dt="2020-08-06T13:06:13.085" v="4904" actId="20577"/>
        <pc:sldMkLst>
          <pc:docMk/>
          <pc:sldMk cId="3239095344" sldId="261"/>
        </pc:sldMkLst>
        <pc:spChg chg="mod">
          <ac:chgData name="Arnie Matson" userId="b15bad87-9922-4920-a37d-ee39c3d298da" providerId="ADAL" clId="{B66D1639-7FD1-43DD-A780-59A110419F5F}" dt="2020-07-30T19:44:22.646" v="2808" actId="113"/>
          <ac:spMkLst>
            <pc:docMk/>
            <pc:sldMk cId="3239095344" sldId="261"/>
            <ac:spMk id="2" creationId="{AA62D8A1-F545-4108-AA87-4A7606A149FA}"/>
          </ac:spMkLst>
        </pc:spChg>
        <pc:spChg chg="add mod">
          <ac:chgData name="Arnie Matson" userId="b15bad87-9922-4920-a37d-ee39c3d298da" providerId="ADAL" clId="{B66D1639-7FD1-43DD-A780-59A110419F5F}" dt="2020-08-06T13:05:51.179" v="4892" actId="20577"/>
          <ac:spMkLst>
            <pc:docMk/>
            <pc:sldMk cId="3239095344" sldId="261"/>
            <ac:spMk id="4" creationId="{1F3F014B-BD70-413F-82BC-4BEB220D138C}"/>
          </ac:spMkLst>
        </pc:spChg>
        <pc:spChg chg="add mod">
          <ac:chgData name="Arnie Matson" userId="b15bad87-9922-4920-a37d-ee39c3d298da" providerId="ADAL" clId="{B66D1639-7FD1-43DD-A780-59A110419F5F}" dt="2020-08-06T13:06:13.085" v="4904" actId="20577"/>
          <ac:spMkLst>
            <pc:docMk/>
            <pc:sldMk cId="3239095344" sldId="261"/>
            <ac:spMk id="6" creationId="{0F4DE521-A6FA-4FCF-8472-EEC8B2466392}"/>
          </ac:spMkLst>
        </pc:spChg>
        <pc:spChg chg="del">
          <ac:chgData name="Arnie Matson" userId="b15bad87-9922-4920-a37d-ee39c3d298da" providerId="ADAL" clId="{B66D1639-7FD1-43DD-A780-59A110419F5F}" dt="2020-07-30T19:18:13.889" v="2128" actId="478"/>
          <ac:spMkLst>
            <pc:docMk/>
            <pc:sldMk cId="3239095344" sldId="261"/>
            <ac:spMk id="21" creationId="{D356577A-99FF-4968-ACB1-15BED8DAF556}"/>
          </ac:spMkLst>
        </pc:spChg>
      </pc:sldChg>
      <pc:sldChg chg="modSp add ord modAnim">
        <pc:chgData name="Arnie Matson" userId="b15bad87-9922-4920-a37d-ee39c3d298da" providerId="ADAL" clId="{B66D1639-7FD1-43DD-A780-59A110419F5F}" dt="2020-08-06T13:06:44.595" v="4929" actId="20577"/>
        <pc:sldMkLst>
          <pc:docMk/>
          <pc:sldMk cId="3434020020" sldId="262"/>
        </pc:sldMkLst>
        <pc:spChg chg="mod">
          <ac:chgData name="Arnie Matson" userId="b15bad87-9922-4920-a37d-ee39c3d298da" providerId="ADAL" clId="{B66D1639-7FD1-43DD-A780-59A110419F5F}" dt="2020-07-30T19:44:17.464" v="2807" actId="113"/>
          <ac:spMkLst>
            <pc:docMk/>
            <pc:sldMk cId="3434020020" sldId="262"/>
            <ac:spMk id="2" creationId="{AA62D8A1-F545-4108-AA87-4A7606A149FA}"/>
          </ac:spMkLst>
        </pc:spChg>
        <pc:spChg chg="mod">
          <ac:chgData name="Arnie Matson" userId="b15bad87-9922-4920-a37d-ee39c3d298da" providerId="ADAL" clId="{B66D1639-7FD1-43DD-A780-59A110419F5F}" dt="2020-08-06T13:06:44.595" v="4929" actId="20577"/>
          <ac:spMkLst>
            <pc:docMk/>
            <pc:sldMk cId="3434020020" sldId="262"/>
            <ac:spMk id="21" creationId="{D356577A-99FF-4968-ACB1-15BED8DAF556}"/>
          </ac:spMkLst>
        </pc:spChg>
      </pc:sldChg>
      <pc:sldChg chg="modSp add ord modAnim">
        <pc:chgData name="Arnie Matson" userId="b15bad87-9922-4920-a37d-ee39c3d298da" providerId="ADAL" clId="{B66D1639-7FD1-43DD-A780-59A110419F5F}" dt="2020-08-06T13:14:44.730" v="4932"/>
        <pc:sldMkLst>
          <pc:docMk/>
          <pc:sldMk cId="3926426839" sldId="263"/>
        </pc:sldMkLst>
        <pc:spChg chg="mod">
          <ac:chgData name="Arnie Matson" userId="b15bad87-9922-4920-a37d-ee39c3d298da" providerId="ADAL" clId="{B66D1639-7FD1-43DD-A780-59A110419F5F}" dt="2020-07-30T19:52:09.899" v="3471" actId="20577"/>
          <ac:spMkLst>
            <pc:docMk/>
            <pc:sldMk cId="3926426839" sldId="263"/>
            <ac:spMk id="2" creationId="{E57D15B5-7627-436F-BC0C-DAE12514DEC3}"/>
          </ac:spMkLst>
        </pc:spChg>
        <pc:spChg chg="mod">
          <ac:chgData name="Arnie Matson" userId="b15bad87-9922-4920-a37d-ee39c3d298da" providerId="ADAL" clId="{B66D1639-7FD1-43DD-A780-59A110419F5F}" dt="2020-08-06T13:14:44.730" v="4932"/>
          <ac:spMkLst>
            <pc:docMk/>
            <pc:sldMk cId="3926426839" sldId="263"/>
            <ac:spMk id="3" creationId="{C54D2F83-DEEE-42F2-A1A8-C0D9CEA93157}"/>
          </ac:spMkLst>
        </pc:spChg>
      </pc:sldChg>
      <pc:sldChg chg="modSp add modAnim">
        <pc:chgData name="Arnie Matson" userId="b15bad87-9922-4920-a37d-ee39c3d298da" providerId="ADAL" clId="{B66D1639-7FD1-43DD-A780-59A110419F5F}" dt="2020-07-31T17:21:29.150" v="4405" actId="14100"/>
        <pc:sldMkLst>
          <pc:docMk/>
          <pc:sldMk cId="22937776" sldId="264"/>
        </pc:sldMkLst>
        <pc:spChg chg="mod">
          <ac:chgData name="Arnie Matson" userId="b15bad87-9922-4920-a37d-ee39c3d298da" providerId="ADAL" clId="{B66D1639-7FD1-43DD-A780-59A110419F5F}" dt="2020-07-31T17:20:35.116" v="4357" actId="14100"/>
          <ac:spMkLst>
            <pc:docMk/>
            <pc:sldMk cId="22937776" sldId="264"/>
            <ac:spMk id="2" creationId="{E57D15B5-7627-436F-BC0C-DAE12514DEC3}"/>
          </ac:spMkLst>
        </pc:spChg>
        <pc:spChg chg="mod">
          <ac:chgData name="Arnie Matson" userId="b15bad87-9922-4920-a37d-ee39c3d298da" providerId="ADAL" clId="{B66D1639-7FD1-43DD-A780-59A110419F5F}" dt="2020-07-31T17:21:29.150" v="4405" actId="14100"/>
          <ac:spMkLst>
            <pc:docMk/>
            <pc:sldMk cId="22937776" sldId="264"/>
            <ac:spMk id="3" creationId="{C54D2F83-DEEE-42F2-A1A8-C0D9CEA93157}"/>
          </ac:spMkLst>
        </pc:spChg>
      </pc:sldChg>
      <pc:sldChg chg="addSp delSp modSp add del">
        <pc:chgData name="Arnie Matson" userId="b15bad87-9922-4920-a37d-ee39c3d298da" providerId="ADAL" clId="{B66D1639-7FD1-43DD-A780-59A110419F5F}" dt="2020-07-31T16:48:33.263" v="3994" actId="2696"/>
        <pc:sldMkLst>
          <pc:docMk/>
          <pc:sldMk cId="2993563187" sldId="264"/>
        </pc:sldMkLst>
        <pc:spChg chg="mod">
          <ac:chgData name="Arnie Matson" userId="b15bad87-9922-4920-a37d-ee39c3d298da" providerId="ADAL" clId="{B66D1639-7FD1-43DD-A780-59A110419F5F}" dt="2020-07-31T16:46:00.253" v="3935" actId="20577"/>
          <ac:spMkLst>
            <pc:docMk/>
            <pc:sldMk cId="2993563187" sldId="264"/>
            <ac:spMk id="4" creationId="{1F3F014B-BD70-413F-82BC-4BEB220D138C}"/>
          </ac:spMkLst>
        </pc:spChg>
        <pc:spChg chg="del">
          <ac:chgData name="Arnie Matson" userId="b15bad87-9922-4920-a37d-ee39c3d298da" providerId="ADAL" clId="{B66D1639-7FD1-43DD-A780-59A110419F5F}" dt="2020-07-31T16:45:28.108" v="3912" actId="478"/>
          <ac:spMkLst>
            <pc:docMk/>
            <pc:sldMk cId="2993563187" sldId="264"/>
            <ac:spMk id="6" creationId="{0F4DE521-A6FA-4FCF-8472-EEC8B2466392}"/>
          </ac:spMkLst>
        </pc:spChg>
        <pc:spChg chg="add mod">
          <ac:chgData name="Arnie Matson" userId="b15bad87-9922-4920-a37d-ee39c3d298da" providerId="ADAL" clId="{B66D1639-7FD1-43DD-A780-59A110419F5F}" dt="2020-07-31T16:46:49.040" v="3936" actId="6549"/>
          <ac:spMkLst>
            <pc:docMk/>
            <pc:sldMk cId="2993563187" sldId="264"/>
            <ac:spMk id="7" creationId="{2A5FCE92-8DF9-4287-8DBF-9E5CCE39478C}"/>
          </ac:spMkLst>
        </pc:spChg>
        <pc:spChg chg="add mod">
          <ac:chgData name="Arnie Matson" userId="b15bad87-9922-4920-a37d-ee39c3d298da" providerId="ADAL" clId="{B66D1639-7FD1-43DD-A780-59A110419F5F}" dt="2020-07-31T16:47:46.200" v="3944" actId="6549"/>
          <ac:spMkLst>
            <pc:docMk/>
            <pc:sldMk cId="2993563187" sldId="264"/>
            <ac:spMk id="8" creationId="{377C201E-9CA6-4991-B33A-B939A97902C4}"/>
          </ac:spMkLst>
        </pc:spChg>
        <pc:spChg chg="add mod">
          <ac:chgData name="Arnie Matson" userId="b15bad87-9922-4920-a37d-ee39c3d298da" providerId="ADAL" clId="{B66D1639-7FD1-43DD-A780-59A110419F5F}" dt="2020-07-31T16:48:03.417" v="3993" actId="20577"/>
          <ac:spMkLst>
            <pc:docMk/>
            <pc:sldMk cId="2993563187" sldId="264"/>
            <ac:spMk id="9" creationId="{F137D94C-E8D4-4F3C-A3D1-0B1085DE3397}"/>
          </ac:spMkLst>
        </pc:spChg>
      </pc:sldChg>
      <pc:sldChg chg="addSp delSp modSp add delAnim">
        <pc:chgData name="Arnie Matson" userId="b15bad87-9922-4920-a37d-ee39c3d298da" providerId="ADAL" clId="{B66D1639-7FD1-43DD-A780-59A110419F5F}" dt="2020-07-31T17:29:45.515" v="4439" actId="1076"/>
        <pc:sldMkLst>
          <pc:docMk/>
          <pc:sldMk cId="1144803774" sldId="265"/>
        </pc:sldMkLst>
        <pc:spChg chg="mod">
          <ac:chgData name="Arnie Matson" userId="b15bad87-9922-4920-a37d-ee39c3d298da" providerId="ADAL" clId="{B66D1639-7FD1-43DD-A780-59A110419F5F}" dt="2020-07-31T17:27:26.376" v="4423" actId="20577"/>
          <ac:spMkLst>
            <pc:docMk/>
            <pc:sldMk cId="1144803774" sldId="265"/>
            <ac:spMk id="2" creationId="{E57D15B5-7627-436F-BC0C-DAE12514DEC3}"/>
          </ac:spMkLst>
        </pc:spChg>
        <pc:spChg chg="del">
          <ac:chgData name="Arnie Matson" userId="b15bad87-9922-4920-a37d-ee39c3d298da" providerId="ADAL" clId="{B66D1639-7FD1-43DD-A780-59A110419F5F}" dt="2020-07-31T17:26:42.935" v="4407" actId="478"/>
          <ac:spMkLst>
            <pc:docMk/>
            <pc:sldMk cId="1144803774" sldId="265"/>
            <ac:spMk id="3" creationId="{C54D2F83-DEEE-42F2-A1A8-C0D9CEA93157}"/>
          </ac:spMkLst>
        </pc:spChg>
        <pc:spChg chg="add del mod">
          <ac:chgData name="Arnie Matson" userId="b15bad87-9922-4920-a37d-ee39c3d298da" providerId="ADAL" clId="{B66D1639-7FD1-43DD-A780-59A110419F5F}" dt="2020-07-31T17:26:45.839" v="4408" actId="478"/>
          <ac:spMkLst>
            <pc:docMk/>
            <pc:sldMk cId="1144803774" sldId="265"/>
            <ac:spMk id="7" creationId="{74C5F63C-81F9-41D8-9165-D1F70F45B7EE}"/>
          </ac:spMkLst>
        </pc:spChg>
        <pc:picChg chg="add mod">
          <ac:chgData name="Arnie Matson" userId="b15bad87-9922-4920-a37d-ee39c3d298da" providerId="ADAL" clId="{B66D1639-7FD1-43DD-A780-59A110419F5F}" dt="2020-07-31T17:29:42.473" v="4438" actId="1076"/>
          <ac:picMkLst>
            <pc:docMk/>
            <pc:sldMk cId="1144803774" sldId="265"/>
            <ac:picMk id="8" creationId="{F38388FC-09D2-4CFD-B749-65B947ECB6C8}"/>
          </ac:picMkLst>
        </pc:picChg>
        <pc:picChg chg="add del mod">
          <ac:chgData name="Arnie Matson" userId="b15bad87-9922-4920-a37d-ee39c3d298da" providerId="ADAL" clId="{B66D1639-7FD1-43DD-A780-59A110419F5F}" dt="2020-07-31T17:28:14.294" v="4429" actId="478"/>
          <ac:picMkLst>
            <pc:docMk/>
            <pc:sldMk cId="1144803774" sldId="265"/>
            <ac:picMk id="9" creationId="{EA4F9A89-D0DF-4BDE-9DE6-7FC7DE96E233}"/>
          </ac:picMkLst>
        </pc:picChg>
        <pc:picChg chg="add mod">
          <ac:chgData name="Arnie Matson" userId="b15bad87-9922-4920-a37d-ee39c3d298da" providerId="ADAL" clId="{B66D1639-7FD1-43DD-A780-59A110419F5F}" dt="2020-07-31T17:29:45.515" v="4439" actId="1076"/>
          <ac:picMkLst>
            <pc:docMk/>
            <pc:sldMk cId="1144803774" sldId="265"/>
            <ac:picMk id="1026" creationId="{79375905-9F24-447C-953C-573C9F85D196}"/>
          </ac:picMkLst>
        </pc:picChg>
      </pc:sldChg>
      <pc:sldChg chg="addSp delSp modSp add">
        <pc:chgData name="Arnie Matson" userId="b15bad87-9922-4920-a37d-ee39c3d298da" providerId="ADAL" clId="{B66D1639-7FD1-43DD-A780-59A110419F5F}" dt="2020-07-31T17:31:25.142" v="4479" actId="1076"/>
        <pc:sldMkLst>
          <pc:docMk/>
          <pc:sldMk cId="285442793" sldId="266"/>
        </pc:sldMkLst>
        <pc:spChg chg="mod">
          <ac:chgData name="Arnie Matson" userId="b15bad87-9922-4920-a37d-ee39c3d298da" providerId="ADAL" clId="{B66D1639-7FD1-43DD-A780-59A110419F5F}" dt="2020-07-31T17:30:17.018" v="4475" actId="20577"/>
          <ac:spMkLst>
            <pc:docMk/>
            <pc:sldMk cId="285442793" sldId="266"/>
            <ac:spMk id="2" creationId="{E57D15B5-7627-436F-BC0C-DAE12514DEC3}"/>
          </ac:spMkLst>
        </pc:spChg>
        <pc:picChg chg="del">
          <ac:chgData name="Arnie Matson" userId="b15bad87-9922-4920-a37d-ee39c3d298da" providerId="ADAL" clId="{B66D1639-7FD1-43DD-A780-59A110419F5F}" dt="2020-07-31T17:31:14.586" v="4477" actId="478"/>
          <ac:picMkLst>
            <pc:docMk/>
            <pc:sldMk cId="285442793" sldId="266"/>
            <ac:picMk id="8" creationId="{F38388FC-09D2-4CFD-B749-65B947ECB6C8}"/>
          </ac:picMkLst>
        </pc:picChg>
        <pc:picChg chg="del">
          <ac:chgData name="Arnie Matson" userId="b15bad87-9922-4920-a37d-ee39c3d298da" providerId="ADAL" clId="{B66D1639-7FD1-43DD-A780-59A110419F5F}" dt="2020-07-31T17:31:13.419" v="4476" actId="478"/>
          <ac:picMkLst>
            <pc:docMk/>
            <pc:sldMk cId="285442793" sldId="266"/>
            <ac:picMk id="1026" creationId="{79375905-9F24-447C-953C-573C9F85D196}"/>
          </ac:picMkLst>
        </pc:picChg>
        <pc:picChg chg="add mod">
          <ac:chgData name="Arnie Matson" userId="b15bad87-9922-4920-a37d-ee39c3d298da" providerId="ADAL" clId="{B66D1639-7FD1-43DD-A780-59A110419F5F}" dt="2020-07-31T17:31:25.142" v="4479" actId="1076"/>
          <ac:picMkLst>
            <pc:docMk/>
            <pc:sldMk cId="285442793" sldId="266"/>
            <ac:picMk id="2050" creationId="{E05CB9C0-ED30-4DD4-B3C8-EBF4547F5C3D}"/>
          </ac:picMkLst>
        </pc:picChg>
      </pc:sldChg>
      <pc:sldChg chg="addSp delSp modSp add">
        <pc:chgData name="Arnie Matson" userId="b15bad87-9922-4920-a37d-ee39c3d298da" providerId="ADAL" clId="{B66D1639-7FD1-43DD-A780-59A110419F5F}" dt="2020-07-31T17:33:13.401" v="4485" actId="14100"/>
        <pc:sldMkLst>
          <pc:docMk/>
          <pc:sldMk cId="839493358" sldId="267"/>
        </pc:sldMkLst>
        <pc:picChg chg="del">
          <ac:chgData name="Arnie Matson" userId="b15bad87-9922-4920-a37d-ee39c3d298da" providerId="ADAL" clId="{B66D1639-7FD1-43DD-A780-59A110419F5F}" dt="2020-07-31T17:32:51.462" v="4481" actId="478"/>
          <ac:picMkLst>
            <pc:docMk/>
            <pc:sldMk cId="839493358" sldId="267"/>
            <ac:picMk id="2050" creationId="{E05CB9C0-ED30-4DD4-B3C8-EBF4547F5C3D}"/>
          </ac:picMkLst>
        </pc:picChg>
        <pc:picChg chg="add mod">
          <ac:chgData name="Arnie Matson" userId="b15bad87-9922-4920-a37d-ee39c3d298da" providerId="ADAL" clId="{B66D1639-7FD1-43DD-A780-59A110419F5F}" dt="2020-07-31T17:33:13.401" v="4485" actId="14100"/>
          <ac:picMkLst>
            <pc:docMk/>
            <pc:sldMk cId="839493358" sldId="267"/>
            <ac:picMk id="3074" creationId="{45875166-73D4-4B51-A34A-4FB0FB2AC6ED}"/>
          </ac:picMkLst>
        </pc:picChg>
      </pc:sldChg>
      <pc:sldChg chg="addSp delSp modSp add">
        <pc:chgData name="Arnie Matson" userId="b15bad87-9922-4920-a37d-ee39c3d298da" providerId="ADAL" clId="{B66D1639-7FD1-43DD-A780-59A110419F5F}" dt="2020-08-06T12:55:57.985" v="4804" actId="20577"/>
        <pc:sldMkLst>
          <pc:docMk/>
          <pc:sldMk cId="459692073" sldId="268"/>
        </pc:sldMkLst>
        <pc:spChg chg="del mod">
          <ac:chgData name="Arnie Matson" userId="b15bad87-9922-4920-a37d-ee39c3d298da" providerId="ADAL" clId="{B66D1639-7FD1-43DD-A780-59A110419F5F}" dt="2020-07-31T17:34:05.525" v="4488" actId="478"/>
          <ac:spMkLst>
            <pc:docMk/>
            <pc:sldMk cId="459692073" sldId="268"/>
            <ac:spMk id="2" creationId="{E57D15B5-7627-436F-BC0C-DAE12514DEC3}"/>
          </ac:spMkLst>
        </pc:spChg>
        <pc:spChg chg="add del mod">
          <ac:chgData name="Arnie Matson" userId="b15bad87-9922-4920-a37d-ee39c3d298da" providerId="ADAL" clId="{B66D1639-7FD1-43DD-A780-59A110419F5F}" dt="2020-07-31T17:34:08.402" v="4490" actId="478"/>
          <ac:spMkLst>
            <pc:docMk/>
            <pc:sldMk cId="459692073" sldId="268"/>
            <ac:spMk id="6" creationId="{352050CD-524B-4365-B1AB-45165DFFBF44}"/>
          </ac:spMkLst>
        </pc:spChg>
        <pc:spChg chg="add mod">
          <ac:chgData name="Arnie Matson" userId="b15bad87-9922-4920-a37d-ee39c3d298da" providerId="ADAL" clId="{B66D1639-7FD1-43DD-A780-59A110419F5F}" dt="2020-08-06T12:55:57.985" v="4804" actId="20577"/>
          <ac:spMkLst>
            <pc:docMk/>
            <pc:sldMk cId="459692073" sldId="268"/>
            <ac:spMk id="8" creationId="{C1464861-D118-4015-9108-B787B25C704E}"/>
          </ac:spMkLst>
        </pc:spChg>
        <pc:picChg chg="del">
          <ac:chgData name="Arnie Matson" userId="b15bad87-9922-4920-a37d-ee39c3d298da" providerId="ADAL" clId="{B66D1639-7FD1-43DD-A780-59A110419F5F}" dt="2020-07-31T17:34:06.443" v="4489" actId="478"/>
          <ac:picMkLst>
            <pc:docMk/>
            <pc:sldMk cId="459692073" sldId="268"/>
            <ac:picMk id="3074" creationId="{45875166-73D4-4B51-A34A-4FB0FB2AC6ED}"/>
          </ac:picMkLst>
        </pc:picChg>
      </pc:sldChg>
      <pc:sldChg chg="del">
        <pc:chgData name="Arnie Matson" userId="b15bad87-9922-4920-a37d-ee39c3d298da" providerId="ADAL" clId="{B66D1639-7FD1-43DD-A780-59A110419F5F}" dt="2020-08-05T14:02:32.988" v="4566" actId="2696"/>
        <pc:sldMkLst>
          <pc:docMk/>
          <pc:sldMk cId="3889997177" sldId="1871"/>
        </pc:sldMkLst>
      </pc:sldChg>
      <pc:sldChg chg="delSp">
        <pc:chgData name="Arnie Matson" userId="b15bad87-9922-4920-a37d-ee39c3d298da" providerId="ADAL" clId="{B66D1639-7FD1-43DD-A780-59A110419F5F}" dt="2020-08-05T14:02:52.081" v="4567"/>
        <pc:sldMkLst>
          <pc:docMk/>
          <pc:sldMk cId="2573316658" sldId="1872"/>
        </pc:sldMkLst>
        <pc:picChg chg="del">
          <ac:chgData name="Arnie Matson" userId="b15bad87-9922-4920-a37d-ee39c3d298da" providerId="ADAL" clId="{B66D1639-7FD1-43DD-A780-59A110419F5F}" dt="2020-08-05T14:02:52.081" v="4567"/>
          <ac:picMkLst>
            <pc:docMk/>
            <pc:sldMk cId="2573316658" sldId="1872"/>
            <ac:picMk id="27" creationId="{6730F1A8-6486-4CAE-A237-F0782E6682FC}"/>
          </ac:picMkLst>
        </pc:picChg>
      </pc:sldChg>
      <pc:sldChg chg="modSp add">
        <pc:chgData name="Arnie Matson" userId="b15bad87-9922-4920-a37d-ee39c3d298da" providerId="ADAL" clId="{B66D1639-7FD1-43DD-A780-59A110419F5F}" dt="2020-08-06T12:55:40.135" v="4796" actId="20577"/>
        <pc:sldMkLst>
          <pc:docMk/>
          <pc:sldMk cId="585027661" sldId="1879"/>
        </pc:sldMkLst>
        <pc:spChg chg="mod">
          <ac:chgData name="Arnie Matson" userId="b15bad87-9922-4920-a37d-ee39c3d298da" providerId="ADAL" clId="{B66D1639-7FD1-43DD-A780-59A110419F5F}" dt="2020-08-06T12:53:04.289" v="4614" actId="20577"/>
          <ac:spMkLst>
            <pc:docMk/>
            <pc:sldMk cId="585027661" sldId="1879"/>
            <ac:spMk id="2" creationId="{5DBB89BA-6336-4D83-85AF-3CEF78EF84ED}"/>
          </ac:spMkLst>
        </pc:spChg>
        <pc:spChg chg="mod">
          <ac:chgData name="Arnie Matson" userId="b15bad87-9922-4920-a37d-ee39c3d298da" providerId="ADAL" clId="{B66D1639-7FD1-43DD-A780-59A110419F5F}" dt="2020-08-06T12:55:40.135" v="4796" actId="20577"/>
          <ac:spMkLst>
            <pc:docMk/>
            <pc:sldMk cId="585027661" sldId="1879"/>
            <ac:spMk id="3" creationId="{3DD4A10F-6B1F-418F-8FA2-EF16EB28D29B}"/>
          </ac:spMkLst>
        </pc:spChg>
      </pc:sldChg>
      <pc:sldMasterChg chg="modSp setBg modSldLayout">
        <pc:chgData name="Arnie Matson" userId="b15bad87-9922-4920-a37d-ee39c3d298da" providerId="ADAL" clId="{B66D1639-7FD1-43DD-A780-59A110419F5F}" dt="2020-07-29T13:51:19.603" v="26" actId="207"/>
        <pc:sldMasterMkLst>
          <pc:docMk/>
          <pc:sldMasterMk cId="1325305333" sldId="2147483648"/>
        </pc:sldMasterMkLst>
        <pc:spChg chg="mod">
          <ac:chgData name="Arnie Matson" userId="b15bad87-9922-4920-a37d-ee39c3d298da" providerId="ADAL" clId="{B66D1639-7FD1-43DD-A780-59A110419F5F}" dt="2020-07-29T13:51:19.603" v="26" actId="207"/>
          <ac:spMkLst>
            <pc:docMk/>
            <pc:sldMasterMk cId="1325305333" sldId="2147483648"/>
            <ac:spMk id="2" creationId="{A0291E69-2D49-4888-87E6-7F84291FDA17}"/>
          </ac:spMkLst>
        </pc:spChg>
        <pc:spChg chg="mod">
          <ac:chgData name="Arnie Matson" userId="b15bad87-9922-4920-a37d-ee39c3d298da" providerId="ADAL" clId="{B66D1639-7FD1-43DD-A780-59A110419F5F}" dt="2020-07-29T13:51:19.603" v="26" actId="207"/>
          <ac:spMkLst>
            <pc:docMk/>
            <pc:sldMasterMk cId="1325305333" sldId="2147483648"/>
            <ac:spMk id="3" creationId="{4AC7E8C1-A4B8-4D5B-9308-9EAE566A9509}"/>
          </ac:spMkLst>
        </pc:spChg>
        <pc:spChg chg="mod">
          <ac:chgData name="Arnie Matson" userId="b15bad87-9922-4920-a37d-ee39c3d298da" providerId="ADAL" clId="{B66D1639-7FD1-43DD-A780-59A110419F5F}" dt="2020-07-29T13:51:19.603" v="26" actId="207"/>
          <ac:spMkLst>
            <pc:docMk/>
            <pc:sldMasterMk cId="1325305333" sldId="2147483648"/>
            <ac:spMk id="4" creationId="{3FFBC02F-25FA-4268-B913-ED6554EE29FB}"/>
          </ac:spMkLst>
        </pc:spChg>
        <pc:spChg chg="mod">
          <ac:chgData name="Arnie Matson" userId="b15bad87-9922-4920-a37d-ee39c3d298da" providerId="ADAL" clId="{B66D1639-7FD1-43DD-A780-59A110419F5F}" dt="2020-07-29T13:51:19.603" v="26" actId="207"/>
          <ac:spMkLst>
            <pc:docMk/>
            <pc:sldMasterMk cId="1325305333" sldId="2147483648"/>
            <ac:spMk id="5" creationId="{2E074918-79AE-4AA3-92EF-2F1A15082179}"/>
          </ac:spMkLst>
        </pc:spChg>
        <pc:spChg chg="mod">
          <ac:chgData name="Arnie Matson" userId="b15bad87-9922-4920-a37d-ee39c3d298da" providerId="ADAL" clId="{B66D1639-7FD1-43DD-A780-59A110419F5F}" dt="2020-07-29T13:51:19.603" v="26" actId="207"/>
          <ac:spMkLst>
            <pc:docMk/>
            <pc:sldMasterMk cId="1325305333" sldId="2147483648"/>
            <ac:spMk id="6" creationId="{62C9FBAD-CE22-48CF-A107-387B9AFF2914}"/>
          </ac:spMkLst>
        </pc:spChg>
        <pc:sldLayoutChg chg="delSp modSp setBg">
          <pc:chgData name="Arnie Matson" userId="b15bad87-9922-4920-a37d-ee39c3d298da" providerId="ADAL" clId="{B66D1639-7FD1-43DD-A780-59A110419F5F}" dt="2020-07-29T13:48:21.786" v="16" actId="207"/>
          <pc:sldLayoutMkLst>
            <pc:docMk/>
            <pc:sldMasterMk cId="1325305333" sldId="2147483648"/>
            <pc:sldLayoutMk cId="3787470675" sldId="2147483649"/>
          </pc:sldLayoutMkLst>
          <pc:spChg chg="mod">
            <ac:chgData name="Arnie Matson" userId="b15bad87-9922-4920-a37d-ee39c3d298da" providerId="ADAL" clId="{B66D1639-7FD1-43DD-A780-59A110419F5F}" dt="2020-07-29T13:48:21.786" v="16" actId="207"/>
            <ac:spMkLst>
              <pc:docMk/>
              <pc:sldMasterMk cId="1325305333" sldId="2147483648"/>
              <pc:sldLayoutMk cId="3787470675" sldId="2147483649"/>
              <ac:spMk id="2" creationId="{BFA113DE-1F61-4668-AA68-E89301E014EA}"/>
            </ac:spMkLst>
          </pc:spChg>
          <pc:spChg chg="mod">
            <ac:chgData name="Arnie Matson" userId="b15bad87-9922-4920-a37d-ee39c3d298da" providerId="ADAL" clId="{B66D1639-7FD1-43DD-A780-59A110419F5F}" dt="2020-07-29T13:48:21.786" v="16" actId="207"/>
            <ac:spMkLst>
              <pc:docMk/>
              <pc:sldMasterMk cId="1325305333" sldId="2147483648"/>
              <pc:sldLayoutMk cId="3787470675" sldId="2147483649"/>
              <ac:spMk id="3" creationId="{ABF11ACB-82DA-415B-BE9A-278343CF5BEC}"/>
            </ac:spMkLst>
          </pc:spChg>
          <pc:spChg chg="mod">
            <ac:chgData name="Arnie Matson" userId="b15bad87-9922-4920-a37d-ee39c3d298da" providerId="ADAL" clId="{B66D1639-7FD1-43DD-A780-59A110419F5F}" dt="2020-07-29T13:48:21.786" v="16" actId="207"/>
            <ac:spMkLst>
              <pc:docMk/>
              <pc:sldMasterMk cId="1325305333" sldId="2147483648"/>
              <pc:sldLayoutMk cId="3787470675" sldId="2147483649"/>
              <ac:spMk id="4" creationId="{F671E298-6B27-4EE5-AD19-B862703DAE2B}"/>
            </ac:spMkLst>
          </pc:spChg>
          <pc:spChg chg="mod">
            <ac:chgData name="Arnie Matson" userId="b15bad87-9922-4920-a37d-ee39c3d298da" providerId="ADAL" clId="{B66D1639-7FD1-43DD-A780-59A110419F5F}" dt="2020-07-29T13:48:21.786" v="16" actId="207"/>
            <ac:spMkLst>
              <pc:docMk/>
              <pc:sldMasterMk cId="1325305333" sldId="2147483648"/>
              <pc:sldLayoutMk cId="3787470675" sldId="2147483649"/>
              <ac:spMk id="5" creationId="{F6CFAD10-D7A5-44FD-884A-A0D368AEAEBB}"/>
            </ac:spMkLst>
          </pc:spChg>
          <pc:spChg chg="mod">
            <ac:chgData name="Arnie Matson" userId="b15bad87-9922-4920-a37d-ee39c3d298da" providerId="ADAL" clId="{B66D1639-7FD1-43DD-A780-59A110419F5F}" dt="2020-07-29T13:48:21.786" v="16" actId="207"/>
            <ac:spMkLst>
              <pc:docMk/>
              <pc:sldMasterMk cId="1325305333" sldId="2147483648"/>
              <pc:sldLayoutMk cId="3787470675" sldId="2147483649"/>
              <ac:spMk id="6" creationId="{6789D3C8-C29B-4F4C-B013-C4927F938705}"/>
            </ac:spMkLst>
          </pc:spChg>
          <pc:picChg chg="del">
            <ac:chgData name="Arnie Matson" userId="b15bad87-9922-4920-a37d-ee39c3d298da" providerId="ADAL" clId="{B66D1639-7FD1-43DD-A780-59A110419F5F}" dt="2020-07-29T13:48:04.124" v="15" actId="478"/>
            <ac:picMkLst>
              <pc:docMk/>
              <pc:sldMasterMk cId="1325305333" sldId="2147483648"/>
              <pc:sldLayoutMk cId="3787470675" sldId="2147483649"/>
              <ac:picMk id="7" creationId="{4B41D794-235C-4F53-BD1A-CAC3139035AB}"/>
            </ac:picMkLst>
          </pc:picChg>
        </pc:sldLayoutChg>
        <pc:sldLayoutChg chg="modSp setBg">
          <pc:chgData name="Arnie Matson" userId="b15bad87-9922-4920-a37d-ee39c3d298da" providerId="ADAL" clId="{B66D1639-7FD1-43DD-A780-59A110419F5F}" dt="2020-07-29T13:47:56.502" v="14" actId="207"/>
          <pc:sldLayoutMkLst>
            <pc:docMk/>
            <pc:sldMasterMk cId="1325305333" sldId="2147483648"/>
            <pc:sldLayoutMk cId="89162881" sldId="2147483650"/>
          </pc:sldLayoutMkLst>
          <pc:spChg chg="mod">
            <ac:chgData name="Arnie Matson" userId="b15bad87-9922-4920-a37d-ee39c3d298da" providerId="ADAL" clId="{B66D1639-7FD1-43DD-A780-59A110419F5F}" dt="2020-07-29T13:47:56.502" v="14" actId="207"/>
            <ac:spMkLst>
              <pc:docMk/>
              <pc:sldMasterMk cId="1325305333" sldId="2147483648"/>
              <pc:sldLayoutMk cId="89162881" sldId="2147483650"/>
              <ac:spMk id="2" creationId="{478BBD01-6FE3-4536-BF39-39B7ECB65D6B}"/>
            </ac:spMkLst>
          </pc:spChg>
          <pc:spChg chg="mod">
            <ac:chgData name="Arnie Matson" userId="b15bad87-9922-4920-a37d-ee39c3d298da" providerId="ADAL" clId="{B66D1639-7FD1-43DD-A780-59A110419F5F}" dt="2020-07-29T13:47:56.502" v="14" actId="207"/>
            <ac:spMkLst>
              <pc:docMk/>
              <pc:sldMasterMk cId="1325305333" sldId="2147483648"/>
              <pc:sldLayoutMk cId="89162881" sldId="2147483650"/>
              <ac:spMk id="3" creationId="{704E4513-92D0-43CA-B97B-950768392188}"/>
            </ac:spMkLst>
          </pc:spChg>
          <pc:spChg chg="mod">
            <ac:chgData name="Arnie Matson" userId="b15bad87-9922-4920-a37d-ee39c3d298da" providerId="ADAL" clId="{B66D1639-7FD1-43DD-A780-59A110419F5F}" dt="2020-07-29T13:47:56.502" v="14" actId="207"/>
            <ac:spMkLst>
              <pc:docMk/>
              <pc:sldMasterMk cId="1325305333" sldId="2147483648"/>
              <pc:sldLayoutMk cId="89162881" sldId="2147483650"/>
              <ac:spMk id="4" creationId="{0CDAB8D9-B6FC-40C7-AC2C-2E7E4934176D}"/>
            </ac:spMkLst>
          </pc:spChg>
          <pc:spChg chg="mod">
            <ac:chgData name="Arnie Matson" userId="b15bad87-9922-4920-a37d-ee39c3d298da" providerId="ADAL" clId="{B66D1639-7FD1-43DD-A780-59A110419F5F}" dt="2020-07-29T13:47:56.502" v="14" actId="207"/>
            <ac:spMkLst>
              <pc:docMk/>
              <pc:sldMasterMk cId="1325305333" sldId="2147483648"/>
              <pc:sldLayoutMk cId="89162881" sldId="2147483650"/>
              <ac:spMk id="5" creationId="{00903E46-B3E2-46A8-91A6-A56696866DC8}"/>
            </ac:spMkLst>
          </pc:spChg>
          <pc:spChg chg="mod">
            <ac:chgData name="Arnie Matson" userId="b15bad87-9922-4920-a37d-ee39c3d298da" providerId="ADAL" clId="{B66D1639-7FD1-43DD-A780-59A110419F5F}" dt="2020-07-29T13:47:56.502" v="14" actId="207"/>
            <ac:spMkLst>
              <pc:docMk/>
              <pc:sldMasterMk cId="1325305333" sldId="2147483648"/>
              <pc:sldLayoutMk cId="89162881" sldId="2147483650"/>
              <ac:spMk id="6" creationId="{3420F6AF-787F-4CCA-841C-97FC2CFC8488}"/>
            </ac:spMkLst>
          </pc:spChg>
        </pc:sldLayoutChg>
        <pc:sldLayoutChg chg="modSp setBg">
          <pc:chgData name="Arnie Matson" userId="b15bad87-9922-4920-a37d-ee39c3d298da" providerId="ADAL" clId="{B66D1639-7FD1-43DD-A780-59A110419F5F}" dt="2020-07-29T13:48:44.587" v="17" actId="207"/>
          <pc:sldLayoutMkLst>
            <pc:docMk/>
            <pc:sldMasterMk cId="1325305333" sldId="2147483648"/>
            <pc:sldLayoutMk cId="2005775697" sldId="2147483651"/>
          </pc:sldLayoutMkLst>
          <pc:spChg chg="mod">
            <ac:chgData name="Arnie Matson" userId="b15bad87-9922-4920-a37d-ee39c3d298da" providerId="ADAL" clId="{B66D1639-7FD1-43DD-A780-59A110419F5F}" dt="2020-07-29T13:48:44.587" v="17" actId="207"/>
            <ac:spMkLst>
              <pc:docMk/>
              <pc:sldMasterMk cId="1325305333" sldId="2147483648"/>
              <pc:sldLayoutMk cId="2005775697" sldId="2147483651"/>
              <ac:spMk id="2" creationId="{C567643E-B99A-4D4D-831B-26C4FE335959}"/>
            </ac:spMkLst>
          </pc:spChg>
          <pc:spChg chg="mod">
            <ac:chgData name="Arnie Matson" userId="b15bad87-9922-4920-a37d-ee39c3d298da" providerId="ADAL" clId="{B66D1639-7FD1-43DD-A780-59A110419F5F}" dt="2020-07-29T13:48:44.587" v="17" actId="207"/>
            <ac:spMkLst>
              <pc:docMk/>
              <pc:sldMasterMk cId="1325305333" sldId="2147483648"/>
              <pc:sldLayoutMk cId="2005775697" sldId="2147483651"/>
              <ac:spMk id="3" creationId="{3C830405-61DB-4E97-9336-092A5A5F3B00}"/>
            </ac:spMkLst>
          </pc:spChg>
          <pc:spChg chg="mod">
            <ac:chgData name="Arnie Matson" userId="b15bad87-9922-4920-a37d-ee39c3d298da" providerId="ADAL" clId="{B66D1639-7FD1-43DD-A780-59A110419F5F}" dt="2020-07-29T13:48:44.587" v="17" actId="207"/>
            <ac:spMkLst>
              <pc:docMk/>
              <pc:sldMasterMk cId="1325305333" sldId="2147483648"/>
              <pc:sldLayoutMk cId="2005775697" sldId="2147483651"/>
              <ac:spMk id="4" creationId="{9D95361E-0EEF-4439-A1A5-90FCC2B23E2A}"/>
            </ac:spMkLst>
          </pc:spChg>
          <pc:spChg chg="mod">
            <ac:chgData name="Arnie Matson" userId="b15bad87-9922-4920-a37d-ee39c3d298da" providerId="ADAL" clId="{B66D1639-7FD1-43DD-A780-59A110419F5F}" dt="2020-07-29T13:48:44.587" v="17" actId="207"/>
            <ac:spMkLst>
              <pc:docMk/>
              <pc:sldMasterMk cId="1325305333" sldId="2147483648"/>
              <pc:sldLayoutMk cId="2005775697" sldId="2147483651"/>
              <ac:spMk id="5" creationId="{374E5A33-C4C3-4A7C-8523-C47DF770EB5F}"/>
            </ac:spMkLst>
          </pc:spChg>
          <pc:spChg chg="mod">
            <ac:chgData name="Arnie Matson" userId="b15bad87-9922-4920-a37d-ee39c3d298da" providerId="ADAL" clId="{B66D1639-7FD1-43DD-A780-59A110419F5F}" dt="2020-07-29T13:48:44.587" v="17" actId="207"/>
            <ac:spMkLst>
              <pc:docMk/>
              <pc:sldMasterMk cId="1325305333" sldId="2147483648"/>
              <pc:sldLayoutMk cId="2005775697" sldId="2147483651"/>
              <ac:spMk id="6" creationId="{79AE1CDE-3578-44EA-92A3-06D70680D36C}"/>
            </ac:spMkLst>
          </pc:spChg>
        </pc:sldLayoutChg>
        <pc:sldLayoutChg chg="modSp setBg">
          <pc:chgData name="Arnie Matson" userId="b15bad87-9922-4920-a37d-ee39c3d298da" providerId="ADAL" clId="{B66D1639-7FD1-43DD-A780-59A110419F5F}" dt="2020-07-29T13:49:02.577" v="18" actId="207"/>
          <pc:sldLayoutMkLst>
            <pc:docMk/>
            <pc:sldMasterMk cId="1325305333" sldId="2147483648"/>
            <pc:sldLayoutMk cId="3732420598" sldId="2147483652"/>
          </pc:sldLayoutMkLst>
          <pc:spChg chg="mod">
            <ac:chgData name="Arnie Matson" userId="b15bad87-9922-4920-a37d-ee39c3d298da" providerId="ADAL" clId="{B66D1639-7FD1-43DD-A780-59A110419F5F}" dt="2020-07-29T13:49:02.577" v="18" actId="207"/>
            <ac:spMkLst>
              <pc:docMk/>
              <pc:sldMasterMk cId="1325305333" sldId="2147483648"/>
              <pc:sldLayoutMk cId="3732420598" sldId="2147483652"/>
              <ac:spMk id="2" creationId="{EB0FD9DB-66D5-41FE-A031-88377600E948}"/>
            </ac:spMkLst>
          </pc:spChg>
          <pc:spChg chg="mod">
            <ac:chgData name="Arnie Matson" userId="b15bad87-9922-4920-a37d-ee39c3d298da" providerId="ADAL" clId="{B66D1639-7FD1-43DD-A780-59A110419F5F}" dt="2020-07-29T13:49:02.577" v="18" actId="207"/>
            <ac:spMkLst>
              <pc:docMk/>
              <pc:sldMasterMk cId="1325305333" sldId="2147483648"/>
              <pc:sldLayoutMk cId="3732420598" sldId="2147483652"/>
              <ac:spMk id="3" creationId="{B7CFAF5B-C3C9-4751-A858-67711D975441}"/>
            </ac:spMkLst>
          </pc:spChg>
          <pc:spChg chg="mod">
            <ac:chgData name="Arnie Matson" userId="b15bad87-9922-4920-a37d-ee39c3d298da" providerId="ADAL" clId="{B66D1639-7FD1-43DD-A780-59A110419F5F}" dt="2020-07-29T13:49:02.577" v="18" actId="207"/>
            <ac:spMkLst>
              <pc:docMk/>
              <pc:sldMasterMk cId="1325305333" sldId="2147483648"/>
              <pc:sldLayoutMk cId="3732420598" sldId="2147483652"/>
              <ac:spMk id="4" creationId="{DA1840E3-59CE-4963-A7B7-BF1517CF5B8E}"/>
            </ac:spMkLst>
          </pc:spChg>
          <pc:spChg chg="mod">
            <ac:chgData name="Arnie Matson" userId="b15bad87-9922-4920-a37d-ee39c3d298da" providerId="ADAL" clId="{B66D1639-7FD1-43DD-A780-59A110419F5F}" dt="2020-07-29T13:49:02.577" v="18" actId="207"/>
            <ac:spMkLst>
              <pc:docMk/>
              <pc:sldMasterMk cId="1325305333" sldId="2147483648"/>
              <pc:sldLayoutMk cId="3732420598" sldId="2147483652"/>
              <ac:spMk id="5" creationId="{35BD869A-AD77-4400-A77F-2F028EA927B0}"/>
            </ac:spMkLst>
          </pc:spChg>
          <pc:spChg chg="mod">
            <ac:chgData name="Arnie Matson" userId="b15bad87-9922-4920-a37d-ee39c3d298da" providerId="ADAL" clId="{B66D1639-7FD1-43DD-A780-59A110419F5F}" dt="2020-07-29T13:49:02.577" v="18" actId="207"/>
            <ac:spMkLst>
              <pc:docMk/>
              <pc:sldMasterMk cId="1325305333" sldId="2147483648"/>
              <pc:sldLayoutMk cId="3732420598" sldId="2147483652"/>
              <ac:spMk id="6" creationId="{DA8D0095-41A6-4AAE-A536-EA203B7A8F16}"/>
            </ac:spMkLst>
          </pc:spChg>
          <pc:spChg chg="mod">
            <ac:chgData name="Arnie Matson" userId="b15bad87-9922-4920-a37d-ee39c3d298da" providerId="ADAL" clId="{B66D1639-7FD1-43DD-A780-59A110419F5F}" dt="2020-07-29T13:49:02.577" v="18" actId="207"/>
            <ac:spMkLst>
              <pc:docMk/>
              <pc:sldMasterMk cId="1325305333" sldId="2147483648"/>
              <pc:sldLayoutMk cId="3732420598" sldId="2147483652"/>
              <ac:spMk id="7" creationId="{47EABFF7-44D8-4256-A97C-A6950F9C2E7B}"/>
            </ac:spMkLst>
          </pc:spChg>
        </pc:sldLayoutChg>
        <pc:sldLayoutChg chg="modSp setBg">
          <pc:chgData name="Arnie Matson" userId="b15bad87-9922-4920-a37d-ee39c3d298da" providerId="ADAL" clId="{B66D1639-7FD1-43DD-A780-59A110419F5F}" dt="2020-07-29T13:49:20.180" v="19" actId="207"/>
          <pc:sldLayoutMkLst>
            <pc:docMk/>
            <pc:sldMasterMk cId="1325305333" sldId="2147483648"/>
            <pc:sldLayoutMk cId="2728843024" sldId="2147483653"/>
          </pc:sldLayoutMkLst>
          <pc:spChg chg="mod">
            <ac:chgData name="Arnie Matson" userId="b15bad87-9922-4920-a37d-ee39c3d298da" providerId="ADAL" clId="{B66D1639-7FD1-43DD-A780-59A110419F5F}" dt="2020-07-29T13:49:20.180" v="19" actId="207"/>
            <ac:spMkLst>
              <pc:docMk/>
              <pc:sldMasterMk cId="1325305333" sldId="2147483648"/>
              <pc:sldLayoutMk cId="2728843024" sldId="2147483653"/>
              <ac:spMk id="2" creationId="{AC76AF7C-308D-41A9-B431-A9685D9E4F00}"/>
            </ac:spMkLst>
          </pc:spChg>
          <pc:spChg chg="mod">
            <ac:chgData name="Arnie Matson" userId="b15bad87-9922-4920-a37d-ee39c3d298da" providerId="ADAL" clId="{B66D1639-7FD1-43DD-A780-59A110419F5F}" dt="2020-07-29T13:49:20.180" v="19" actId="207"/>
            <ac:spMkLst>
              <pc:docMk/>
              <pc:sldMasterMk cId="1325305333" sldId="2147483648"/>
              <pc:sldLayoutMk cId="2728843024" sldId="2147483653"/>
              <ac:spMk id="3" creationId="{0198BE1F-F421-41A6-AA51-9C6309D9AF85}"/>
            </ac:spMkLst>
          </pc:spChg>
          <pc:spChg chg="mod">
            <ac:chgData name="Arnie Matson" userId="b15bad87-9922-4920-a37d-ee39c3d298da" providerId="ADAL" clId="{B66D1639-7FD1-43DD-A780-59A110419F5F}" dt="2020-07-29T13:49:20.180" v="19" actId="207"/>
            <ac:spMkLst>
              <pc:docMk/>
              <pc:sldMasterMk cId="1325305333" sldId="2147483648"/>
              <pc:sldLayoutMk cId="2728843024" sldId="2147483653"/>
              <ac:spMk id="4" creationId="{723D8FCD-C609-474F-B267-3C0EF90EF86B}"/>
            </ac:spMkLst>
          </pc:spChg>
          <pc:spChg chg="mod">
            <ac:chgData name="Arnie Matson" userId="b15bad87-9922-4920-a37d-ee39c3d298da" providerId="ADAL" clId="{B66D1639-7FD1-43DD-A780-59A110419F5F}" dt="2020-07-29T13:49:20.180" v="19" actId="207"/>
            <ac:spMkLst>
              <pc:docMk/>
              <pc:sldMasterMk cId="1325305333" sldId="2147483648"/>
              <pc:sldLayoutMk cId="2728843024" sldId="2147483653"/>
              <ac:spMk id="5" creationId="{98550EE4-349A-46F9-A13D-513966286A2D}"/>
            </ac:spMkLst>
          </pc:spChg>
          <pc:spChg chg="mod">
            <ac:chgData name="Arnie Matson" userId="b15bad87-9922-4920-a37d-ee39c3d298da" providerId="ADAL" clId="{B66D1639-7FD1-43DD-A780-59A110419F5F}" dt="2020-07-29T13:49:20.180" v="19" actId="207"/>
            <ac:spMkLst>
              <pc:docMk/>
              <pc:sldMasterMk cId="1325305333" sldId="2147483648"/>
              <pc:sldLayoutMk cId="2728843024" sldId="2147483653"/>
              <ac:spMk id="6" creationId="{DD805974-7E98-49ED-BE40-B4AAA0A311DC}"/>
            </ac:spMkLst>
          </pc:spChg>
          <pc:spChg chg="mod">
            <ac:chgData name="Arnie Matson" userId="b15bad87-9922-4920-a37d-ee39c3d298da" providerId="ADAL" clId="{B66D1639-7FD1-43DD-A780-59A110419F5F}" dt="2020-07-29T13:49:20.180" v="19" actId="207"/>
            <ac:spMkLst>
              <pc:docMk/>
              <pc:sldMasterMk cId="1325305333" sldId="2147483648"/>
              <pc:sldLayoutMk cId="2728843024" sldId="2147483653"/>
              <ac:spMk id="7" creationId="{E1DAF82A-C44E-4972-BAA8-B0CF35ABF267}"/>
            </ac:spMkLst>
          </pc:spChg>
          <pc:spChg chg="mod">
            <ac:chgData name="Arnie Matson" userId="b15bad87-9922-4920-a37d-ee39c3d298da" providerId="ADAL" clId="{B66D1639-7FD1-43DD-A780-59A110419F5F}" dt="2020-07-29T13:49:20.180" v="19" actId="207"/>
            <ac:spMkLst>
              <pc:docMk/>
              <pc:sldMasterMk cId="1325305333" sldId="2147483648"/>
              <pc:sldLayoutMk cId="2728843024" sldId="2147483653"/>
              <ac:spMk id="8" creationId="{713741BA-AA54-452D-89D2-6085330A55A6}"/>
            </ac:spMkLst>
          </pc:spChg>
          <pc:spChg chg="mod">
            <ac:chgData name="Arnie Matson" userId="b15bad87-9922-4920-a37d-ee39c3d298da" providerId="ADAL" clId="{B66D1639-7FD1-43DD-A780-59A110419F5F}" dt="2020-07-29T13:49:20.180" v="19" actId="207"/>
            <ac:spMkLst>
              <pc:docMk/>
              <pc:sldMasterMk cId="1325305333" sldId="2147483648"/>
              <pc:sldLayoutMk cId="2728843024" sldId="2147483653"/>
              <ac:spMk id="9" creationId="{7B8951C5-A6C4-4A0D-92CE-B7E0064F1939}"/>
            </ac:spMkLst>
          </pc:spChg>
        </pc:sldLayoutChg>
        <pc:sldLayoutChg chg="modSp setBg">
          <pc:chgData name="Arnie Matson" userId="b15bad87-9922-4920-a37d-ee39c3d298da" providerId="ADAL" clId="{B66D1639-7FD1-43DD-A780-59A110419F5F}" dt="2020-07-29T13:49:34.921" v="20" actId="207"/>
          <pc:sldLayoutMkLst>
            <pc:docMk/>
            <pc:sldMasterMk cId="1325305333" sldId="2147483648"/>
            <pc:sldLayoutMk cId="389865372" sldId="2147483654"/>
          </pc:sldLayoutMkLst>
          <pc:spChg chg="mod">
            <ac:chgData name="Arnie Matson" userId="b15bad87-9922-4920-a37d-ee39c3d298da" providerId="ADAL" clId="{B66D1639-7FD1-43DD-A780-59A110419F5F}" dt="2020-07-29T13:49:34.921" v="20" actId="207"/>
            <ac:spMkLst>
              <pc:docMk/>
              <pc:sldMasterMk cId="1325305333" sldId="2147483648"/>
              <pc:sldLayoutMk cId="389865372" sldId="2147483654"/>
              <ac:spMk id="2" creationId="{55AE74B8-EF5C-4F88-AAAE-06D703C815C1}"/>
            </ac:spMkLst>
          </pc:spChg>
          <pc:spChg chg="mod">
            <ac:chgData name="Arnie Matson" userId="b15bad87-9922-4920-a37d-ee39c3d298da" providerId="ADAL" clId="{B66D1639-7FD1-43DD-A780-59A110419F5F}" dt="2020-07-29T13:49:34.921" v="20" actId="207"/>
            <ac:spMkLst>
              <pc:docMk/>
              <pc:sldMasterMk cId="1325305333" sldId="2147483648"/>
              <pc:sldLayoutMk cId="389865372" sldId="2147483654"/>
              <ac:spMk id="3" creationId="{2DCCE6B0-2772-4027-A4BC-1DF4BFED3FE3}"/>
            </ac:spMkLst>
          </pc:spChg>
          <pc:spChg chg="mod">
            <ac:chgData name="Arnie Matson" userId="b15bad87-9922-4920-a37d-ee39c3d298da" providerId="ADAL" clId="{B66D1639-7FD1-43DD-A780-59A110419F5F}" dt="2020-07-29T13:49:34.921" v="20" actId="207"/>
            <ac:spMkLst>
              <pc:docMk/>
              <pc:sldMasterMk cId="1325305333" sldId="2147483648"/>
              <pc:sldLayoutMk cId="389865372" sldId="2147483654"/>
              <ac:spMk id="4" creationId="{DAAD7DE3-1B67-448F-8F9F-F4A8DB0DA87A}"/>
            </ac:spMkLst>
          </pc:spChg>
          <pc:spChg chg="mod">
            <ac:chgData name="Arnie Matson" userId="b15bad87-9922-4920-a37d-ee39c3d298da" providerId="ADAL" clId="{B66D1639-7FD1-43DD-A780-59A110419F5F}" dt="2020-07-29T13:49:34.921" v="20" actId="207"/>
            <ac:spMkLst>
              <pc:docMk/>
              <pc:sldMasterMk cId="1325305333" sldId="2147483648"/>
              <pc:sldLayoutMk cId="389865372" sldId="2147483654"/>
              <ac:spMk id="5" creationId="{04A9F777-9390-4FFF-82EB-DA0152A8490D}"/>
            </ac:spMkLst>
          </pc:spChg>
        </pc:sldLayoutChg>
        <pc:sldLayoutChg chg="modSp setBg">
          <pc:chgData name="Arnie Matson" userId="b15bad87-9922-4920-a37d-ee39c3d298da" providerId="ADAL" clId="{B66D1639-7FD1-43DD-A780-59A110419F5F}" dt="2020-07-29T13:49:51.818" v="21" actId="207"/>
          <pc:sldLayoutMkLst>
            <pc:docMk/>
            <pc:sldMasterMk cId="1325305333" sldId="2147483648"/>
            <pc:sldLayoutMk cId="293552476" sldId="2147483655"/>
          </pc:sldLayoutMkLst>
          <pc:spChg chg="mod">
            <ac:chgData name="Arnie Matson" userId="b15bad87-9922-4920-a37d-ee39c3d298da" providerId="ADAL" clId="{B66D1639-7FD1-43DD-A780-59A110419F5F}" dt="2020-07-29T13:49:51.818" v="21" actId="207"/>
            <ac:spMkLst>
              <pc:docMk/>
              <pc:sldMasterMk cId="1325305333" sldId="2147483648"/>
              <pc:sldLayoutMk cId="293552476" sldId="2147483655"/>
              <ac:spMk id="2" creationId="{D88EE079-C147-49B4-A4C3-77BBFA8C4CB7}"/>
            </ac:spMkLst>
          </pc:spChg>
          <pc:spChg chg="mod">
            <ac:chgData name="Arnie Matson" userId="b15bad87-9922-4920-a37d-ee39c3d298da" providerId="ADAL" clId="{B66D1639-7FD1-43DD-A780-59A110419F5F}" dt="2020-07-29T13:49:51.818" v="21" actId="207"/>
            <ac:spMkLst>
              <pc:docMk/>
              <pc:sldMasterMk cId="1325305333" sldId="2147483648"/>
              <pc:sldLayoutMk cId="293552476" sldId="2147483655"/>
              <ac:spMk id="3" creationId="{2D4EA94B-9E3D-4526-BB9D-090954E4113C}"/>
            </ac:spMkLst>
          </pc:spChg>
          <pc:spChg chg="mod">
            <ac:chgData name="Arnie Matson" userId="b15bad87-9922-4920-a37d-ee39c3d298da" providerId="ADAL" clId="{B66D1639-7FD1-43DD-A780-59A110419F5F}" dt="2020-07-29T13:49:51.818" v="21" actId="207"/>
            <ac:spMkLst>
              <pc:docMk/>
              <pc:sldMasterMk cId="1325305333" sldId="2147483648"/>
              <pc:sldLayoutMk cId="293552476" sldId="2147483655"/>
              <ac:spMk id="4" creationId="{40901CD3-0B29-4878-84B5-6E757DEF87E3}"/>
            </ac:spMkLst>
          </pc:spChg>
        </pc:sldLayoutChg>
        <pc:sldLayoutChg chg="modSp setBg">
          <pc:chgData name="Arnie Matson" userId="b15bad87-9922-4920-a37d-ee39c3d298da" providerId="ADAL" clId="{B66D1639-7FD1-43DD-A780-59A110419F5F}" dt="2020-07-29T13:50:04.207" v="22" actId="207"/>
          <pc:sldLayoutMkLst>
            <pc:docMk/>
            <pc:sldMasterMk cId="1325305333" sldId="2147483648"/>
            <pc:sldLayoutMk cId="2026688161" sldId="2147483656"/>
          </pc:sldLayoutMkLst>
          <pc:spChg chg="mod">
            <ac:chgData name="Arnie Matson" userId="b15bad87-9922-4920-a37d-ee39c3d298da" providerId="ADAL" clId="{B66D1639-7FD1-43DD-A780-59A110419F5F}" dt="2020-07-29T13:50:04.207" v="22" actId="207"/>
            <ac:spMkLst>
              <pc:docMk/>
              <pc:sldMasterMk cId="1325305333" sldId="2147483648"/>
              <pc:sldLayoutMk cId="2026688161" sldId="2147483656"/>
              <ac:spMk id="2" creationId="{DEE13D1A-D70C-4039-8E63-A4D048372777}"/>
            </ac:spMkLst>
          </pc:spChg>
          <pc:spChg chg="mod">
            <ac:chgData name="Arnie Matson" userId="b15bad87-9922-4920-a37d-ee39c3d298da" providerId="ADAL" clId="{B66D1639-7FD1-43DD-A780-59A110419F5F}" dt="2020-07-29T13:50:04.207" v="22" actId="207"/>
            <ac:spMkLst>
              <pc:docMk/>
              <pc:sldMasterMk cId="1325305333" sldId="2147483648"/>
              <pc:sldLayoutMk cId="2026688161" sldId="2147483656"/>
              <ac:spMk id="3" creationId="{56CD8CCC-BBF1-4D7B-BC63-55867688BA81}"/>
            </ac:spMkLst>
          </pc:spChg>
          <pc:spChg chg="mod">
            <ac:chgData name="Arnie Matson" userId="b15bad87-9922-4920-a37d-ee39c3d298da" providerId="ADAL" clId="{B66D1639-7FD1-43DD-A780-59A110419F5F}" dt="2020-07-29T13:50:04.207" v="22" actId="207"/>
            <ac:spMkLst>
              <pc:docMk/>
              <pc:sldMasterMk cId="1325305333" sldId="2147483648"/>
              <pc:sldLayoutMk cId="2026688161" sldId="2147483656"/>
              <ac:spMk id="4" creationId="{3767C31A-11A1-42D0-9B71-C0739C51D5AD}"/>
            </ac:spMkLst>
          </pc:spChg>
          <pc:spChg chg="mod">
            <ac:chgData name="Arnie Matson" userId="b15bad87-9922-4920-a37d-ee39c3d298da" providerId="ADAL" clId="{B66D1639-7FD1-43DD-A780-59A110419F5F}" dt="2020-07-29T13:50:04.207" v="22" actId="207"/>
            <ac:spMkLst>
              <pc:docMk/>
              <pc:sldMasterMk cId="1325305333" sldId="2147483648"/>
              <pc:sldLayoutMk cId="2026688161" sldId="2147483656"/>
              <ac:spMk id="5" creationId="{E606A43B-1EC4-40A1-825A-BF4816B77CDC}"/>
            </ac:spMkLst>
          </pc:spChg>
          <pc:spChg chg="mod">
            <ac:chgData name="Arnie Matson" userId="b15bad87-9922-4920-a37d-ee39c3d298da" providerId="ADAL" clId="{B66D1639-7FD1-43DD-A780-59A110419F5F}" dt="2020-07-29T13:50:04.207" v="22" actId="207"/>
            <ac:spMkLst>
              <pc:docMk/>
              <pc:sldMasterMk cId="1325305333" sldId="2147483648"/>
              <pc:sldLayoutMk cId="2026688161" sldId="2147483656"/>
              <ac:spMk id="6" creationId="{01C682BD-2785-421C-AFBA-F8BEE9CA9AC8}"/>
            </ac:spMkLst>
          </pc:spChg>
          <pc:spChg chg="mod">
            <ac:chgData name="Arnie Matson" userId="b15bad87-9922-4920-a37d-ee39c3d298da" providerId="ADAL" clId="{B66D1639-7FD1-43DD-A780-59A110419F5F}" dt="2020-07-29T13:50:04.207" v="22" actId="207"/>
            <ac:spMkLst>
              <pc:docMk/>
              <pc:sldMasterMk cId="1325305333" sldId="2147483648"/>
              <pc:sldLayoutMk cId="2026688161" sldId="2147483656"/>
              <ac:spMk id="7" creationId="{083ED885-D3CB-4F6F-B45F-79FB7499867C}"/>
            </ac:spMkLst>
          </pc:spChg>
        </pc:sldLayoutChg>
        <pc:sldLayoutChg chg="modSp setBg">
          <pc:chgData name="Arnie Matson" userId="b15bad87-9922-4920-a37d-ee39c3d298da" providerId="ADAL" clId="{B66D1639-7FD1-43DD-A780-59A110419F5F}" dt="2020-07-29T13:50:21.008" v="23" actId="207"/>
          <pc:sldLayoutMkLst>
            <pc:docMk/>
            <pc:sldMasterMk cId="1325305333" sldId="2147483648"/>
            <pc:sldLayoutMk cId="997029707" sldId="2147483657"/>
          </pc:sldLayoutMkLst>
          <pc:spChg chg="mod">
            <ac:chgData name="Arnie Matson" userId="b15bad87-9922-4920-a37d-ee39c3d298da" providerId="ADAL" clId="{B66D1639-7FD1-43DD-A780-59A110419F5F}" dt="2020-07-29T13:50:21.008" v="23" actId="207"/>
            <ac:spMkLst>
              <pc:docMk/>
              <pc:sldMasterMk cId="1325305333" sldId="2147483648"/>
              <pc:sldLayoutMk cId="997029707" sldId="2147483657"/>
              <ac:spMk id="2" creationId="{1111328C-2752-439D-B002-EE9C6D0EC711}"/>
            </ac:spMkLst>
          </pc:spChg>
          <pc:spChg chg="mod">
            <ac:chgData name="Arnie Matson" userId="b15bad87-9922-4920-a37d-ee39c3d298da" providerId="ADAL" clId="{B66D1639-7FD1-43DD-A780-59A110419F5F}" dt="2020-07-29T13:50:21.008" v="23" actId="207"/>
            <ac:spMkLst>
              <pc:docMk/>
              <pc:sldMasterMk cId="1325305333" sldId="2147483648"/>
              <pc:sldLayoutMk cId="997029707" sldId="2147483657"/>
              <ac:spMk id="3" creationId="{5C666799-6F7F-4126-B26F-D1937C9E2C73}"/>
            </ac:spMkLst>
          </pc:spChg>
          <pc:spChg chg="mod">
            <ac:chgData name="Arnie Matson" userId="b15bad87-9922-4920-a37d-ee39c3d298da" providerId="ADAL" clId="{B66D1639-7FD1-43DD-A780-59A110419F5F}" dt="2020-07-29T13:50:21.008" v="23" actId="207"/>
            <ac:spMkLst>
              <pc:docMk/>
              <pc:sldMasterMk cId="1325305333" sldId="2147483648"/>
              <pc:sldLayoutMk cId="997029707" sldId="2147483657"/>
              <ac:spMk id="4" creationId="{3B2DE802-2B59-4CA3-8283-98A2DC925D60}"/>
            </ac:spMkLst>
          </pc:spChg>
          <pc:spChg chg="mod">
            <ac:chgData name="Arnie Matson" userId="b15bad87-9922-4920-a37d-ee39c3d298da" providerId="ADAL" clId="{B66D1639-7FD1-43DD-A780-59A110419F5F}" dt="2020-07-29T13:50:21.008" v="23" actId="207"/>
            <ac:spMkLst>
              <pc:docMk/>
              <pc:sldMasterMk cId="1325305333" sldId="2147483648"/>
              <pc:sldLayoutMk cId="997029707" sldId="2147483657"/>
              <ac:spMk id="5" creationId="{C39B7FDC-915E-44EF-B486-086B4CBC2440}"/>
            </ac:spMkLst>
          </pc:spChg>
          <pc:spChg chg="mod">
            <ac:chgData name="Arnie Matson" userId="b15bad87-9922-4920-a37d-ee39c3d298da" providerId="ADAL" clId="{B66D1639-7FD1-43DD-A780-59A110419F5F}" dt="2020-07-29T13:50:21.008" v="23" actId="207"/>
            <ac:spMkLst>
              <pc:docMk/>
              <pc:sldMasterMk cId="1325305333" sldId="2147483648"/>
              <pc:sldLayoutMk cId="997029707" sldId="2147483657"/>
              <ac:spMk id="6" creationId="{1E683C4F-9AEF-4BAE-BC07-7C745D92068B}"/>
            </ac:spMkLst>
          </pc:spChg>
          <pc:spChg chg="mod">
            <ac:chgData name="Arnie Matson" userId="b15bad87-9922-4920-a37d-ee39c3d298da" providerId="ADAL" clId="{B66D1639-7FD1-43DD-A780-59A110419F5F}" dt="2020-07-29T13:50:21.008" v="23" actId="207"/>
            <ac:spMkLst>
              <pc:docMk/>
              <pc:sldMasterMk cId="1325305333" sldId="2147483648"/>
              <pc:sldLayoutMk cId="997029707" sldId="2147483657"/>
              <ac:spMk id="7" creationId="{73FC6C05-5764-4F3F-A466-355BD9137494}"/>
            </ac:spMkLst>
          </pc:spChg>
        </pc:sldLayoutChg>
        <pc:sldLayoutChg chg="modSp setBg">
          <pc:chgData name="Arnie Matson" userId="b15bad87-9922-4920-a37d-ee39c3d298da" providerId="ADAL" clId="{B66D1639-7FD1-43DD-A780-59A110419F5F}" dt="2020-07-29T13:50:37.963" v="24" actId="207"/>
          <pc:sldLayoutMkLst>
            <pc:docMk/>
            <pc:sldMasterMk cId="1325305333" sldId="2147483648"/>
            <pc:sldLayoutMk cId="4215297174" sldId="2147483658"/>
          </pc:sldLayoutMkLst>
          <pc:spChg chg="mod">
            <ac:chgData name="Arnie Matson" userId="b15bad87-9922-4920-a37d-ee39c3d298da" providerId="ADAL" clId="{B66D1639-7FD1-43DD-A780-59A110419F5F}" dt="2020-07-29T13:50:37.963" v="24" actId="207"/>
            <ac:spMkLst>
              <pc:docMk/>
              <pc:sldMasterMk cId="1325305333" sldId="2147483648"/>
              <pc:sldLayoutMk cId="4215297174" sldId="2147483658"/>
              <ac:spMk id="2" creationId="{9B0F6983-F4C4-4C2C-B0E7-CBE7C0255668}"/>
            </ac:spMkLst>
          </pc:spChg>
          <pc:spChg chg="mod">
            <ac:chgData name="Arnie Matson" userId="b15bad87-9922-4920-a37d-ee39c3d298da" providerId="ADAL" clId="{B66D1639-7FD1-43DD-A780-59A110419F5F}" dt="2020-07-29T13:50:37.963" v="24" actId="207"/>
            <ac:spMkLst>
              <pc:docMk/>
              <pc:sldMasterMk cId="1325305333" sldId="2147483648"/>
              <pc:sldLayoutMk cId="4215297174" sldId="2147483658"/>
              <ac:spMk id="3" creationId="{AAEDDD92-73DD-4DD1-AFB1-335369D15C66}"/>
            </ac:spMkLst>
          </pc:spChg>
          <pc:spChg chg="mod">
            <ac:chgData name="Arnie Matson" userId="b15bad87-9922-4920-a37d-ee39c3d298da" providerId="ADAL" clId="{B66D1639-7FD1-43DD-A780-59A110419F5F}" dt="2020-07-29T13:50:37.963" v="24" actId="207"/>
            <ac:spMkLst>
              <pc:docMk/>
              <pc:sldMasterMk cId="1325305333" sldId="2147483648"/>
              <pc:sldLayoutMk cId="4215297174" sldId="2147483658"/>
              <ac:spMk id="4" creationId="{4B99B2F9-D4A3-442D-8236-E20C2D755665}"/>
            </ac:spMkLst>
          </pc:spChg>
          <pc:spChg chg="mod">
            <ac:chgData name="Arnie Matson" userId="b15bad87-9922-4920-a37d-ee39c3d298da" providerId="ADAL" clId="{B66D1639-7FD1-43DD-A780-59A110419F5F}" dt="2020-07-29T13:50:37.963" v="24" actId="207"/>
            <ac:spMkLst>
              <pc:docMk/>
              <pc:sldMasterMk cId="1325305333" sldId="2147483648"/>
              <pc:sldLayoutMk cId="4215297174" sldId="2147483658"/>
              <ac:spMk id="5" creationId="{FB28BCFA-83F9-4D07-89F6-AF41DC9F5A9C}"/>
            </ac:spMkLst>
          </pc:spChg>
          <pc:spChg chg="mod">
            <ac:chgData name="Arnie Matson" userId="b15bad87-9922-4920-a37d-ee39c3d298da" providerId="ADAL" clId="{B66D1639-7FD1-43DD-A780-59A110419F5F}" dt="2020-07-29T13:50:37.963" v="24" actId="207"/>
            <ac:spMkLst>
              <pc:docMk/>
              <pc:sldMasterMk cId="1325305333" sldId="2147483648"/>
              <pc:sldLayoutMk cId="4215297174" sldId="2147483658"/>
              <ac:spMk id="6" creationId="{1CCFEF3D-C775-4313-A872-508E451DBD5B}"/>
            </ac:spMkLst>
          </pc:spChg>
        </pc:sldLayoutChg>
        <pc:sldLayoutChg chg="modSp setBg">
          <pc:chgData name="Arnie Matson" userId="b15bad87-9922-4920-a37d-ee39c3d298da" providerId="ADAL" clId="{B66D1639-7FD1-43DD-A780-59A110419F5F}" dt="2020-07-29T13:51:01.395" v="25" actId="207"/>
          <pc:sldLayoutMkLst>
            <pc:docMk/>
            <pc:sldMasterMk cId="1325305333" sldId="2147483648"/>
            <pc:sldLayoutMk cId="294902460" sldId="2147483659"/>
          </pc:sldLayoutMkLst>
          <pc:spChg chg="mod">
            <ac:chgData name="Arnie Matson" userId="b15bad87-9922-4920-a37d-ee39c3d298da" providerId="ADAL" clId="{B66D1639-7FD1-43DD-A780-59A110419F5F}" dt="2020-07-29T13:51:01.395" v="25" actId="207"/>
            <ac:spMkLst>
              <pc:docMk/>
              <pc:sldMasterMk cId="1325305333" sldId="2147483648"/>
              <pc:sldLayoutMk cId="294902460" sldId="2147483659"/>
              <ac:spMk id="2" creationId="{01644F1D-CCAD-47BA-A84B-A6CF5BA6683B}"/>
            </ac:spMkLst>
          </pc:spChg>
          <pc:spChg chg="mod">
            <ac:chgData name="Arnie Matson" userId="b15bad87-9922-4920-a37d-ee39c3d298da" providerId="ADAL" clId="{B66D1639-7FD1-43DD-A780-59A110419F5F}" dt="2020-07-29T13:51:01.395" v="25" actId="207"/>
            <ac:spMkLst>
              <pc:docMk/>
              <pc:sldMasterMk cId="1325305333" sldId="2147483648"/>
              <pc:sldLayoutMk cId="294902460" sldId="2147483659"/>
              <ac:spMk id="3" creationId="{32E37C77-7BBA-4CB7-AC41-D23B8E60FE16}"/>
            </ac:spMkLst>
          </pc:spChg>
          <pc:spChg chg="mod">
            <ac:chgData name="Arnie Matson" userId="b15bad87-9922-4920-a37d-ee39c3d298da" providerId="ADAL" clId="{B66D1639-7FD1-43DD-A780-59A110419F5F}" dt="2020-07-29T13:51:01.395" v="25" actId="207"/>
            <ac:spMkLst>
              <pc:docMk/>
              <pc:sldMasterMk cId="1325305333" sldId="2147483648"/>
              <pc:sldLayoutMk cId="294902460" sldId="2147483659"/>
              <ac:spMk id="4" creationId="{08140C6B-E0C0-4FB7-9A49-4913F8AC4437}"/>
            </ac:spMkLst>
          </pc:spChg>
          <pc:spChg chg="mod">
            <ac:chgData name="Arnie Matson" userId="b15bad87-9922-4920-a37d-ee39c3d298da" providerId="ADAL" clId="{B66D1639-7FD1-43DD-A780-59A110419F5F}" dt="2020-07-29T13:51:01.395" v="25" actId="207"/>
            <ac:spMkLst>
              <pc:docMk/>
              <pc:sldMasterMk cId="1325305333" sldId="2147483648"/>
              <pc:sldLayoutMk cId="294902460" sldId="2147483659"/>
              <ac:spMk id="5" creationId="{EF86FDC4-95CA-441E-9843-220D088C5D94}"/>
            </ac:spMkLst>
          </pc:spChg>
          <pc:spChg chg="mod">
            <ac:chgData name="Arnie Matson" userId="b15bad87-9922-4920-a37d-ee39c3d298da" providerId="ADAL" clId="{B66D1639-7FD1-43DD-A780-59A110419F5F}" dt="2020-07-29T13:51:01.395" v="25" actId="207"/>
            <ac:spMkLst>
              <pc:docMk/>
              <pc:sldMasterMk cId="1325305333" sldId="2147483648"/>
              <pc:sldLayoutMk cId="294902460" sldId="2147483659"/>
              <ac:spMk id="6" creationId="{E4B87CF6-F46B-4501-95AB-28B41540C7FB}"/>
            </ac:spMkLst>
          </pc:spChg>
        </pc:sldLayoutChg>
      </pc:sldMasterChg>
    </pc:docChg>
  </pc:docChgLst>
  <pc:docChgLst>
    <pc:chgData name="Arnie Matson" userId="S::amatson@ducks.org::b15bad87-9922-4920-a37d-ee39c3d298da" providerId="AD" clId="Web-{2B69DFE9-9DC8-200B-376B-C0C7C697AED9}"/>
    <pc:docChg chg="modSld">
      <pc:chgData name="Arnie Matson" userId="S::amatson@ducks.org::b15bad87-9922-4920-a37d-ee39c3d298da" providerId="AD" clId="Web-{2B69DFE9-9DC8-200B-376B-C0C7C697AED9}" dt="2020-08-03T22:03:20.645" v="68" actId="20577"/>
      <pc:docMkLst>
        <pc:docMk/>
      </pc:docMkLst>
      <pc:sldChg chg="modSp">
        <pc:chgData name="Arnie Matson" userId="S::amatson@ducks.org::b15bad87-9922-4920-a37d-ee39c3d298da" providerId="AD" clId="Web-{2B69DFE9-9DC8-200B-376B-C0C7C697AED9}" dt="2020-08-03T22:03:20.645" v="67" actId="20577"/>
        <pc:sldMkLst>
          <pc:docMk/>
          <pc:sldMk cId="3644516189" sldId="258"/>
        </pc:sldMkLst>
        <pc:spChg chg="mod">
          <ac:chgData name="Arnie Matson" userId="S::amatson@ducks.org::b15bad87-9922-4920-a37d-ee39c3d298da" providerId="AD" clId="Web-{2B69DFE9-9DC8-200B-376B-C0C7C697AED9}" dt="2020-08-03T22:03:20.645" v="67" actId="20577"/>
          <ac:spMkLst>
            <pc:docMk/>
            <pc:sldMk cId="3644516189" sldId="258"/>
            <ac:spMk id="3" creationId="{C54D2F83-DEEE-42F2-A1A8-C0D9CEA93157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B90397D-5156-4F34-9286-D400EC856C42}" type="datetimeFigureOut">
              <a:rPr lang="en-US" smtClean="0"/>
              <a:t>8/6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5163C1-6525-4FF0-81B8-811B4AE3B7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39814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B1B13E-E819-3443-A749-19E065A9EF19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99948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8A9B0-80EF-A34D-B345-E2DEC5501E01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39078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A113DE-1F61-4668-AA68-E89301E014E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>
                <a:solidFill>
                  <a:srgbClr val="FFFF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BF11ACB-82DA-415B-BE9A-278343CF5BE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FFFF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671E298-6B27-4EE5-AD19-B862703DAE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fld id="{EAB1E597-E929-4604-8A1B-BE4D990B892E}" type="datetime1">
              <a:rPr lang="en-US" smtClean="0"/>
              <a:t>8/6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CFAD10-D7A5-44FD-884A-A0D368AEAE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/>
              <a:t>BB 2020 Developer's Conference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789D3C8-C29B-4F4C-B013-C4927F9387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fld id="{1E958E42-E2A2-4C86-9E0E-440C3912DFB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74706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0F6983-F4C4-4C2C-B0E7-CBE7C02556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AEDDD92-73DD-4DD1-AFB1-335369D15C6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solidFill>
                  <a:srgbClr val="FFFF00"/>
                </a:solidFill>
              </a:defRPr>
            </a:lvl1pPr>
            <a:lvl2pPr>
              <a:defRPr>
                <a:solidFill>
                  <a:srgbClr val="FFFF00"/>
                </a:solidFill>
              </a:defRPr>
            </a:lvl2pPr>
            <a:lvl3pPr>
              <a:defRPr>
                <a:solidFill>
                  <a:srgbClr val="FFFF00"/>
                </a:solidFill>
              </a:defRPr>
            </a:lvl3pPr>
            <a:lvl4pPr>
              <a:defRPr>
                <a:solidFill>
                  <a:srgbClr val="FFFF00"/>
                </a:solidFill>
              </a:defRPr>
            </a:lvl4pPr>
            <a:lvl5pPr>
              <a:defRPr>
                <a:solidFill>
                  <a:srgbClr val="FFFF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B99B2F9-D4A3-442D-8236-E20C2D7556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fld id="{4DD293B0-FADA-489A-B56C-48A7A7980FF4}" type="datetime1">
              <a:rPr lang="en-US" smtClean="0"/>
              <a:t>8/6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28BCFA-83F9-4D07-89F6-AF41DC9F5A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/>
              <a:t>BB 2020 Developer's Conference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CFEF3D-C775-4313-A872-508E451DBD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fld id="{1E958E42-E2A2-4C86-9E0E-440C3912DFB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52971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1644F1D-CCAD-47BA-A84B-A6CF5BA6683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2E37C77-7BBA-4CB7-AC41-D23B8E60FE1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>
              <a:defRPr>
                <a:solidFill>
                  <a:srgbClr val="FFFF00"/>
                </a:solidFill>
              </a:defRPr>
            </a:lvl1pPr>
            <a:lvl2pPr>
              <a:defRPr>
                <a:solidFill>
                  <a:srgbClr val="FFFF00"/>
                </a:solidFill>
              </a:defRPr>
            </a:lvl2pPr>
            <a:lvl3pPr>
              <a:defRPr>
                <a:solidFill>
                  <a:srgbClr val="FFFF00"/>
                </a:solidFill>
              </a:defRPr>
            </a:lvl3pPr>
            <a:lvl4pPr>
              <a:defRPr>
                <a:solidFill>
                  <a:srgbClr val="FFFF00"/>
                </a:solidFill>
              </a:defRPr>
            </a:lvl4pPr>
            <a:lvl5pPr>
              <a:defRPr>
                <a:solidFill>
                  <a:srgbClr val="FFFF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8140C6B-E0C0-4FB7-9A49-4913F8AC44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fld id="{F3CF4472-E84B-444D-9EDB-B22B9C622ED0}" type="datetime1">
              <a:rPr lang="en-US" smtClean="0"/>
              <a:t>8/6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F86FDC4-95CA-441E-9843-220D088C5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/>
              <a:t>BB 2020 Developer's Conference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B87CF6-F46B-4501-95AB-28B41540C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fld id="{1E958E42-E2A2-4C86-9E0E-440C3912DFB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9024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s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454461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s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0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936797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es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5115560" y="3949953"/>
            <a:ext cx="1960880" cy="147066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000"/>
            </a:lvl1pPr>
          </a:lstStyle>
          <a:p>
            <a:endParaRPr lang="en-US"/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8066491" y="3949953"/>
            <a:ext cx="1960880" cy="147066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000"/>
            </a:lvl1pPr>
          </a:lstStyle>
          <a:p>
            <a:endParaRPr lang="en-US"/>
          </a:p>
        </p:txBody>
      </p:sp>
      <p:sp>
        <p:nvSpPr>
          <p:cNvPr id="6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2164629" y="3949953"/>
            <a:ext cx="1960880" cy="147066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0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08229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es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6096000" y="3429001"/>
            <a:ext cx="6096000" cy="3428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000"/>
            </a:lvl1pPr>
          </a:lstStyle>
          <a:p>
            <a:endParaRPr lang="en-US"/>
          </a:p>
        </p:txBody>
      </p:sp>
      <p:sp>
        <p:nvSpPr>
          <p:cNvPr id="2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096000" y="1"/>
            <a:ext cx="6096000" cy="3428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0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213614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es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4571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0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756357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es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605655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0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42485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es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0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041587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57" y="1592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7" y="1592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7"/>
          <p:cNvSpPr txBox="1">
            <a:spLocks/>
          </p:cNvSpPr>
          <p:nvPr userDrawn="1"/>
        </p:nvSpPr>
        <p:spPr>
          <a:xfrm>
            <a:off x="5741499" y="6546185"/>
            <a:ext cx="1152128" cy="290558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r" defTabSz="914400" rtl="0" eaLnBrk="1" latinLnBrk="0" hangingPunct="1">
              <a:spcBef>
                <a:spcPts val="200"/>
              </a:spcBef>
              <a:spcAft>
                <a:spcPts val="200"/>
              </a:spcAft>
              <a:buFont typeface="Wingdings" pitchFamily="2" charset="2"/>
              <a:buNone/>
              <a:defRPr sz="1000" kern="120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+mn-cs"/>
              </a:defRPr>
            </a:lvl1pPr>
            <a:lvl2pPr marL="180000" indent="0" algn="l" defTabSz="914400" rtl="0" eaLnBrk="1" latinLnBrk="0" hangingPunct="1">
              <a:spcBef>
                <a:spcPts val="200"/>
              </a:spcBef>
              <a:spcAft>
                <a:spcPts val="200"/>
              </a:spcAft>
              <a:buFont typeface="Wingdings" pitchFamily="2" charset="2"/>
              <a:buNone/>
              <a:defRPr sz="2400" kern="1200" baseline="0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1"/>
                </a:gradFill>
                <a:latin typeface="+mn-lt"/>
                <a:ea typeface="+mn-ea"/>
                <a:cs typeface="+mn-cs"/>
              </a:defRPr>
            </a:lvl2pPr>
            <a:lvl3pPr marL="359263" indent="0" algn="l" defTabSz="914400" rtl="0" eaLnBrk="1" latinLnBrk="0" hangingPunct="1">
              <a:spcBef>
                <a:spcPts val="200"/>
              </a:spcBef>
              <a:spcAft>
                <a:spcPts val="200"/>
              </a:spcAft>
              <a:buFont typeface="Wingdings" pitchFamily="2" charset="2"/>
              <a:buNone/>
              <a:defRPr sz="2400" kern="1200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1"/>
                </a:gradFill>
                <a:latin typeface="+mn-lt"/>
                <a:ea typeface="+mn-ea"/>
                <a:cs typeface="+mn-cs"/>
              </a:defRPr>
            </a:lvl3pPr>
            <a:lvl4pPr marL="540000" indent="0" algn="l" defTabSz="914400" rtl="0" eaLnBrk="1" latinLnBrk="0" hangingPunct="1">
              <a:spcBef>
                <a:spcPts val="200"/>
              </a:spcBef>
              <a:spcAft>
                <a:spcPts val="200"/>
              </a:spcAft>
              <a:buFont typeface="Wingdings" pitchFamily="2" charset="2"/>
              <a:buNone/>
              <a:defRPr sz="2400" kern="1200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1"/>
                </a:gradFill>
                <a:latin typeface="+mn-lt"/>
                <a:ea typeface="+mn-ea"/>
                <a:cs typeface="+mn-cs"/>
              </a:defRPr>
            </a:lvl4pPr>
            <a:lvl5pPr marL="720000" indent="0" algn="l" defTabSz="914400" rtl="0" eaLnBrk="1" latinLnBrk="0" hangingPunct="1">
              <a:spcBef>
                <a:spcPts val="200"/>
              </a:spcBef>
              <a:spcAft>
                <a:spcPts val="200"/>
              </a:spcAft>
              <a:buFont typeface="Wingdings" pitchFamily="2" charset="2"/>
              <a:buNone/>
              <a:defRPr sz="2400" kern="1200" baseline="0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1"/>
                </a:gra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923" dirty="0">
              <a:solidFill>
                <a:schemeClr val="tx1"/>
              </a:solidFill>
            </a:endParaRP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46736" y="548680"/>
            <a:ext cx="11654961" cy="506582"/>
          </a:xfrm>
          <a:prstGeom prst="rect">
            <a:avLst/>
          </a:prstGeom>
        </p:spPr>
        <p:txBody>
          <a:bodyPr lIns="137160" tIns="0" bIns="0">
            <a:noAutofit/>
          </a:bodyPr>
          <a:lstStyle>
            <a:lvl1pPr marL="0" indent="0">
              <a:buNone/>
              <a:defRPr sz="1846" i="1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dirty="0"/>
              <a:t>Messag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47368" y="836714"/>
            <a:ext cx="11654328" cy="584062"/>
          </a:xfrm>
          <a:prstGeom prst="rect">
            <a:avLst/>
          </a:prstGeom>
          <a:noFill/>
        </p:spPr>
        <p:txBody>
          <a:bodyPr vert="horz" lIns="91440" tIns="36000" rIns="36000" bIns="36000" rtlCol="0" anchor="t">
            <a:spAutoFit/>
          </a:bodyPr>
          <a:lstStyle>
            <a:lvl1pPr>
              <a:defRPr sz="3323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Page titl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3909" y="0"/>
            <a:ext cx="12192000" cy="404664"/>
          </a:xfrm>
          <a:prstGeom prst="rect">
            <a:avLst/>
          </a:prstGeom>
          <a:solidFill>
            <a:srgbClr val="E39B31"/>
          </a:solidFill>
          <a:ln>
            <a:solidFill>
              <a:srgbClr val="F6861E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32923" rtlCol="0" anchor="ctr"/>
          <a:lstStyle/>
          <a:p>
            <a:pPr marL="0" algn="l" defTabSz="422041" rtl="0" eaLnBrk="1" latinLnBrk="0" hangingPunct="1"/>
            <a:endParaRPr lang="en-GB" sz="1015" kern="12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87284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8BBD01-6FE3-4536-BF39-39B7ECB65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4E4513-92D0-43CA-B97B-95076839218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  <a:lvl2pPr>
              <a:defRPr>
                <a:solidFill>
                  <a:srgbClr val="FFFF00"/>
                </a:solidFill>
              </a:defRPr>
            </a:lvl2pPr>
            <a:lvl3pPr>
              <a:defRPr>
                <a:solidFill>
                  <a:srgbClr val="FFFF00"/>
                </a:solidFill>
              </a:defRPr>
            </a:lvl3pPr>
            <a:lvl4pPr>
              <a:defRPr>
                <a:solidFill>
                  <a:srgbClr val="FFFF00"/>
                </a:solidFill>
              </a:defRPr>
            </a:lvl4pPr>
            <a:lvl5pPr>
              <a:defRPr>
                <a:solidFill>
                  <a:srgbClr val="FFFF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CDAB8D9-B6FC-40C7-AC2C-2E7E493417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fld id="{A96CC963-6854-4CC9-B258-71A21E3CD809}" type="datetime1">
              <a:rPr lang="en-US" smtClean="0"/>
              <a:t>8/6/20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0903E46-B3E2-46A8-91A6-A56696866D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/>
              <a:t>BB 2020 Developer's Conference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20F6AF-787F-4CCA-841C-97FC2CFC84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fld id="{1E958E42-E2A2-4C86-9E0E-440C3912DFB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1628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67643E-B99A-4D4D-831B-26C4FE3359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>
                <a:solidFill>
                  <a:srgbClr val="FFFF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830405-61DB-4E97-9336-092A5A5F3B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rgbClr val="FFFF00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95361E-0EEF-4439-A1A5-90FCC2B23E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fld id="{65D5E1C9-229E-4F2C-83AF-9DF3FBCB502C}" type="datetime1">
              <a:rPr lang="en-US" smtClean="0"/>
              <a:t>8/6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4E5A33-C4C3-4A7C-8523-C47DF770EB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/>
              <a:t>BB 2020 Developer's Conference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AE1CDE-3578-44EA-92A3-06D70680D3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fld id="{1E958E42-E2A2-4C86-9E0E-440C3912DFB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57756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0FD9DB-66D5-41FE-A031-88377600E9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CFAF5B-C3C9-4751-A858-67711D97544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  <a:lvl2pPr>
              <a:defRPr>
                <a:solidFill>
                  <a:srgbClr val="FFFF00"/>
                </a:solidFill>
              </a:defRPr>
            </a:lvl2pPr>
            <a:lvl3pPr>
              <a:defRPr>
                <a:solidFill>
                  <a:srgbClr val="FFFF00"/>
                </a:solidFill>
              </a:defRPr>
            </a:lvl3pPr>
            <a:lvl4pPr>
              <a:defRPr>
                <a:solidFill>
                  <a:srgbClr val="FFFF00"/>
                </a:solidFill>
              </a:defRPr>
            </a:lvl4pPr>
            <a:lvl5pPr>
              <a:defRPr>
                <a:solidFill>
                  <a:srgbClr val="FFFF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A1840E3-59CE-4963-A7B7-BF1517CF5B8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  <a:lvl2pPr>
              <a:defRPr>
                <a:solidFill>
                  <a:srgbClr val="FFFF00"/>
                </a:solidFill>
              </a:defRPr>
            </a:lvl2pPr>
            <a:lvl3pPr>
              <a:defRPr>
                <a:solidFill>
                  <a:srgbClr val="FFFF00"/>
                </a:solidFill>
              </a:defRPr>
            </a:lvl3pPr>
            <a:lvl4pPr>
              <a:defRPr>
                <a:solidFill>
                  <a:srgbClr val="FFFF00"/>
                </a:solidFill>
              </a:defRPr>
            </a:lvl4pPr>
            <a:lvl5pPr>
              <a:defRPr>
                <a:solidFill>
                  <a:srgbClr val="FFFF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5BD869A-AD77-4400-A77F-2F028EA927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fld id="{9ACB9536-B5A0-4824-B5D8-2A0D14E09E73}" type="datetime1">
              <a:rPr lang="en-US" smtClean="0"/>
              <a:t>8/6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A8D0095-41A6-4AAE-A536-EA203B7A8F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/>
              <a:t>BB 2020 Developer's Conference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7EABFF7-44D8-4256-A97C-A6950F9C2E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fld id="{1E958E42-E2A2-4C86-9E0E-440C3912DFB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24205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76AF7C-308D-41A9-B431-A9685D9E4F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198BE1F-F421-41A6-AA51-9C6309D9AF8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FFFF0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23D8FCD-C609-474F-B267-3C0EF90EF86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  <a:lvl2pPr>
              <a:defRPr>
                <a:solidFill>
                  <a:srgbClr val="FFFF00"/>
                </a:solidFill>
              </a:defRPr>
            </a:lvl2pPr>
            <a:lvl3pPr>
              <a:defRPr>
                <a:solidFill>
                  <a:srgbClr val="FFFF00"/>
                </a:solidFill>
              </a:defRPr>
            </a:lvl3pPr>
            <a:lvl4pPr>
              <a:defRPr>
                <a:solidFill>
                  <a:srgbClr val="FFFF00"/>
                </a:solidFill>
              </a:defRPr>
            </a:lvl4pPr>
            <a:lvl5pPr>
              <a:defRPr>
                <a:solidFill>
                  <a:srgbClr val="FFFF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8550EE4-349A-46F9-A13D-513966286A2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FFFF0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D805974-7E98-49ED-BE40-B4AAA0A311D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  <a:lvl2pPr>
              <a:defRPr>
                <a:solidFill>
                  <a:srgbClr val="FFFF00"/>
                </a:solidFill>
              </a:defRPr>
            </a:lvl2pPr>
            <a:lvl3pPr>
              <a:defRPr>
                <a:solidFill>
                  <a:srgbClr val="FFFF00"/>
                </a:solidFill>
              </a:defRPr>
            </a:lvl3pPr>
            <a:lvl4pPr>
              <a:defRPr>
                <a:solidFill>
                  <a:srgbClr val="FFFF00"/>
                </a:solidFill>
              </a:defRPr>
            </a:lvl4pPr>
            <a:lvl5pPr>
              <a:defRPr>
                <a:solidFill>
                  <a:srgbClr val="FFFF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1DAF82A-C44E-4972-BAA8-B0CF35ABF2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fld id="{66FF42F5-6364-4FEA-97DE-CD7BB0EDFF22}" type="datetime1">
              <a:rPr lang="en-US" smtClean="0"/>
              <a:t>8/6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13741BA-AA54-452D-89D2-6085330A55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/>
              <a:t>BB 2020 Developer's Conference 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B8951C5-A6C4-4A0D-92CE-B7E0064F19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fld id="{1E958E42-E2A2-4C86-9E0E-440C3912DFB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88430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AE74B8-EF5C-4F88-AAAE-06D703C81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CCE6B0-2772-4027-A4BC-1DF4BFED3F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fld id="{A4B4FBE9-F7E2-4615-87B3-4DA51C6DDE45}" type="datetime1">
              <a:rPr lang="en-US" smtClean="0"/>
              <a:t>8/6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AAD7DE3-1B67-448F-8F9F-F4A8DB0DA8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/>
              <a:t>BB 2020 Developer's Conference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A9F777-9390-4FFF-82EB-DA0152A849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fld id="{1E958E42-E2A2-4C86-9E0E-440C3912DFB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8653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88EE079-C147-49B4-A4C3-77BBFA8C4C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fld id="{45996096-02E9-4B8A-AF5F-FB180E68A859}" type="datetime1">
              <a:rPr lang="en-US" smtClean="0"/>
              <a:t>8/6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D4EA94B-9E3D-4526-BB9D-090954E411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/>
              <a:t>BB 2020 Developer's Conference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0901CD3-0B29-4878-84B5-6E757DEF87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fld id="{1E958E42-E2A2-4C86-9E0E-440C3912DFB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5524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E13D1A-D70C-4039-8E63-A4D0483727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solidFill>
                  <a:srgbClr val="FFFF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6CD8CCC-BBF1-4D7B-BC63-55867688BA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>
                <a:solidFill>
                  <a:srgbClr val="FFFF00"/>
                </a:solidFill>
              </a:defRPr>
            </a:lvl1pPr>
            <a:lvl2pPr>
              <a:defRPr sz="2800">
                <a:solidFill>
                  <a:srgbClr val="FFFF00"/>
                </a:solidFill>
              </a:defRPr>
            </a:lvl2pPr>
            <a:lvl3pPr>
              <a:defRPr sz="2400">
                <a:solidFill>
                  <a:srgbClr val="FFFF00"/>
                </a:solidFill>
              </a:defRPr>
            </a:lvl3pPr>
            <a:lvl4pPr>
              <a:defRPr sz="2000">
                <a:solidFill>
                  <a:srgbClr val="FFFF00"/>
                </a:solidFill>
              </a:defRPr>
            </a:lvl4pPr>
            <a:lvl5pPr>
              <a:defRPr sz="2000">
                <a:solidFill>
                  <a:srgbClr val="FFFF00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767C31A-11A1-42D0-9B71-C0739C51D5A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solidFill>
                  <a:srgbClr val="FFFF00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606A43B-1EC4-40A1-825A-BF4816B77C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fld id="{B086E7BC-403E-485B-94D9-B84B87214B11}" type="datetime1">
              <a:rPr lang="en-US" smtClean="0"/>
              <a:t>8/6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1C682BD-2785-421C-AFBA-F8BEE9CA9A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/>
              <a:t>BB 2020 Developer's Conference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3ED885-D3CB-4F6F-B45F-79FB749986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fld id="{1E958E42-E2A2-4C86-9E0E-440C3912DFB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66881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11328C-2752-439D-B002-EE9C6D0EC7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solidFill>
                  <a:srgbClr val="FFFF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C666799-6F7F-4126-B26F-D1937C9E2C7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>
                <a:solidFill>
                  <a:srgbClr val="FFFF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2DE802-2B59-4CA3-8283-98A2DC925D6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solidFill>
                  <a:srgbClr val="FFFF00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9B7FDC-915E-44EF-B486-086B4CBC24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fld id="{A1E9511C-0AFF-4399-9635-AD5EC367D8D7}" type="datetime1">
              <a:rPr lang="en-US" smtClean="0"/>
              <a:t>8/6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E683C4F-9AEF-4BAE-BC07-7C745D9206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/>
              <a:t>BB 2020 Developer's Conference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3FC6C05-5764-4F3F-A466-355BD91374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fld id="{1E958E42-E2A2-4C86-9E0E-440C3912DFB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70297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Relationship Id="rId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 t="-7000" b="-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0291E69-2D49-4888-87E6-7F84291FDA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AC7E8C1-A4B8-4D5B-9308-9EAE566A95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FBC02F-25FA-4268-B913-ED6554EE29F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FFFF00"/>
                </a:solidFill>
              </a:defRPr>
            </a:lvl1pPr>
          </a:lstStyle>
          <a:p>
            <a:fld id="{074C6548-87F1-480B-AD4D-AC8D891E173D}" type="datetime1">
              <a:rPr lang="en-US" smtClean="0"/>
              <a:t>8/6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074918-79AE-4AA3-92EF-2F1A150821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00"/>
                </a:solidFill>
              </a:defRPr>
            </a:lvl1pPr>
          </a:lstStyle>
          <a:p>
            <a:r>
              <a:rPr lang="en-US"/>
              <a:t>BB 2020 Developer's Conference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C9FBAD-CE22-48CF-A107-387B9AFF29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00"/>
                </a:solidFill>
              </a:defRPr>
            </a:lvl1pPr>
          </a:lstStyle>
          <a:p>
            <a:fld id="{1E958E42-E2A2-4C86-9E0E-440C3912DFB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53053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FFFF00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rgbClr val="FFFF00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rgbClr val="FFFF00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rgbClr val="FFFF00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FFFF00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FFFF00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88501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txStyles>
    <p:titleStyle>
      <a:lvl1pPr algn="l" defTabSz="457200" rtl="0" eaLnBrk="1" latinLnBrk="0" hangingPunct="1">
        <a:spcBef>
          <a:spcPct val="0"/>
        </a:spcBef>
        <a:buNone/>
        <a:defRPr sz="3200" b="0" i="0" kern="1200">
          <a:solidFill>
            <a:schemeClr val="bg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685800" indent="-283464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96012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23444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50876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8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0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5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4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0" Type="http://schemas.openxmlformats.org/officeDocument/2006/relationships/image" Target="../media/image21.png"/><Relationship Id="rId4" Type="http://schemas.openxmlformats.org/officeDocument/2006/relationships/image" Target="../media/image15.png"/><Relationship Id="rId9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0BB6E8-CA7E-4337-8749-4A7BFFC5DCA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Blackbaud Developer Conferenc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55AC778-0F54-4038-835F-0897B6E14CB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2133599"/>
          </a:xfrm>
        </p:spPr>
        <p:txBody>
          <a:bodyPr>
            <a:normAutofit/>
          </a:bodyPr>
          <a:lstStyle/>
          <a:p>
            <a:endParaRPr lang="en-US" dirty="0"/>
          </a:p>
          <a:p>
            <a:r>
              <a:rPr lang="en-US" sz="3200" dirty="0">
                <a:solidFill>
                  <a:schemeClr val="tx1"/>
                </a:solidFill>
              </a:rPr>
              <a:t>Arnie Matson</a:t>
            </a:r>
          </a:p>
          <a:p>
            <a:r>
              <a:rPr lang="en-US" sz="3200" dirty="0">
                <a:solidFill>
                  <a:schemeClr val="tx1"/>
                </a:solidFill>
              </a:rPr>
              <a:t>Sr Director IT</a:t>
            </a:r>
          </a:p>
          <a:p>
            <a:r>
              <a:rPr lang="en-US" sz="3200" dirty="0">
                <a:solidFill>
                  <a:schemeClr val="tx1"/>
                </a:solidFill>
              </a:rPr>
              <a:t>Ducks Unlimited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86348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7D15B5-7627-436F-BC0C-DAE12514DE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15035"/>
          </a:xfrm>
        </p:spPr>
        <p:txBody>
          <a:bodyPr/>
          <a:lstStyle/>
          <a:p>
            <a:r>
              <a:rPr lang="en-US" b="1" dirty="0"/>
              <a:t>The Componen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4D2F83-DEEE-42F2-A1A8-C0D9CEA931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28503"/>
            <a:ext cx="10515600" cy="4548460"/>
          </a:xfrm>
        </p:spPr>
        <p:txBody>
          <a:bodyPr>
            <a:normAutofit/>
          </a:bodyPr>
          <a:lstStyle/>
          <a:p>
            <a:r>
              <a:rPr lang="en-US" sz="3200" dirty="0"/>
              <a:t>BBCRM Custom Data Lists</a:t>
            </a:r>
          </a:p>
          <a:p>
            <a:pPr lvl="1"/>
            <a:r>
              <a:rPr lang="en-US" sz="2800" dirty="0"/>
              <a:t>Events</a:t>
            </a:r>
          </a:p>
          <a:p>
            <a:pPr lvl="1"/>
            <a:r>
              <a:rPr lang="en-US" sz="2800" dirty="0"/>
              <a:t>Chapters</a:t>
            </a:r>
          </a:p>
          <a:p>
            <a:pPr lvl="1"/>
            <a:r>
              <a:rPr lang="en-US" sz="2800" dirty="0"/>
              <a:t>G/L</a:t>
            </a:r>
          </a:p>
          <a:p>
            <a:r>
              <a:rPr lang="en-US" sz="3200" dirty="0" err="1"/>
              <a:t>LogicApp</a:t>
            </a:r>
            <a:endParaRPr lang="en-US" sz="3200" dirty="0"/>
          </a:p>
          <a:p>
            <a:r>
              <a:rPr lang="en-US" sz="3200" dirty="0" err="1"/>
              <a:t>KeyVault</a:t>
            </a:r>
            <a:endParaRPr lang="en-US" sz="3200" dirty="0"/>
          </a:p>
          <a:p>
            <a:r>
              <a:rPr lang="en-US" sz="3200" dirty="0"/>
              <a:t>D365 F&amp;O Data Management</a:t>
            </a:r>
          </a:p>
          <a:p>
            <a:r>
              <a:rPr lang="en-US" sz="3200" dirty="0"/>
              <a:t>Custom Development in D365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D93FB00-5853-41CF-9EB9-9982A9D99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B 2020 Developer's Conference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93AA167-6F38-4C34-A9AD-CCC10A451E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958E42-E2A2-4C86-9E0E-440C3912DFB4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377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7D15B5-7627-436F-BC0C-DAE12514DE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6670" y="296727"/>
            <a:ext cx="10515600" cy="296726"/>
          </a:xfrm>
        </p:spPr>
        <p:txBody>
          <a:bodyPr>
            <a:normAutofit fontScale="90000"/>
          </a:bodyPr>
          <a:lstStyle/>
          <a:p>
            <a:r>
              <a:rPr lang="en-US" b="1" dirty="0" err="1"/>
              <a:t>LogicApp</a:t>
            </a:r>
            <a:endParaRPr lang="en-US" b="1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D93FB00-5853-41CF-9EB9-9982A9D99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B 2020 Developer's Conference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93AA167-6F38-4C34-A9AD-CCC10A451E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958E42-E2A2-4C86-9E0E-440C3912DFB4}" type="slidenum">
              <a:rPr lang="en-US" smtClean="0"/>
              <a:pPr/>
              <a:t>11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38388FC-09D2-4CFD-B749-65B947ECB6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56843" y="636868"/>
            <a:ext cx="4707513" cy="6084607"/>
          </a:xfrm>
          <a:prstGeom prst="rect">
            <a:avLst/>
          </a:prstGeom>
        </p:spPr>
      </p:pic>
      <p:pic>
        <p:nvPicPr>
          <p:cNvPr id="1026" name="Picture 2" descr="A screenshot of a cell phone&#10;&#10;Description automatically generated">
            <a:extLst>
              <a:ext uri="{FF2B5EF4-FFF2-40B4-BE49-F238E27FC236}">
                <a16:creationId xmlns:a16="http://schemas.microsoft.com/office/drawing/2014/main" id="{79375905-9F24-447C-953C-573C9F85D19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076"/>
          <a:stretch/>
        </p:blipFill>
        <p:spPr bwMode="auto">
          <a:xfrm>
            <a:off x="1773471" y="641939"/>
            <a:ext cx="4254772" cy="6079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448037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7D15B5-7627-436F-BC0C-DAE12514DE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6670" y="296727"/>
            <a:ext cx="10515600" cy="296726"/>
          </a:xfrm>
        </p:spPr>
        <p:txBody>
          <a:bodyPr>
            <a:normAutofit fontScale="90000"/>
          </a:bodyPr>
          <a:lstStyle/>
          <a:p>
            <a:r>
              <a:rPr lang="en-US" b="1" dirty="0"/>
              <a:t>D365 Finance and Operation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D93FB00-5853-41CF-9EB9-9982A9D99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B 2020 Developer's Conference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93AA167-6F38-4C34-A9AD-CCC10A451E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958E42-E2A2-4C86-9E0E-440C3912DFB4}" type="slidenum">
              <a:rPr lang="en-US" smtClean="0"/>
              <a:pPr/>
              <a:t>12</a:t>
            </a:fld>
            <a:endParaRPr lang="en-US"/>
          </a:p>
        </p:txBody>
      </p:sp>
      <p:pic>
        <p:nvPicPr>
          <p:cNvPr id="2050" name="Picture 4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E05CB9C0-ED30-4DD4-B3C8-EBF4547F5C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2881" y="1335586"/>
            <a:ext cx="9266238" cy="384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544279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7D15B5-7627-436F-BC0C-DAE12514DE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6670" y="296727"/>
            <a:ext cx="10515600" cy="296726"/>
          </a:xfrm>
        </p:spPr>
        <p:txBody>
          <a:bodyPr>
            <a:normAutofit fontScale="90000"/>
          </a:bodyPr>
          <a:lstStyle/>
          <a:p>
            <a:r>
              <a:rPr lang="en-US" b="1" dirty="0"/>
              <a:t>D365 Finance and Operation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D93FB00-5853-41CF-9EB9-9982A9D99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B 2020 Developer's Conference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93AA167-6F38-4C34-A9AD-CCC10A451E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958E42-E2A2-4C86-9E0E-440C3912DFB4}" type="slidenum">
              <a:rPr lang="en-US" smtClean="0"/>
              <a:pPr/>
              <a:t>13</a:t>
            </a:fld>
            <a:endParaRPr lang="en-US"/>
          </a:p>
        </p:txBody>
      </p:sp>
      <p:pic>
        <p:nvPicPr>
          <p:cNvPr id="3074" name="Picture 5" descr="A close up of text on a white background&#10;&#10;Description automatically generated">
            <a:extLst>
              <a:ext uri="{FF2B5EF4-FFF2-40B4-BE49-F238E27FC236}">
                <a16:creationId xmlns:a16="http://schemas.microsoft.com/office/drawing/2014/main" id="{45875166-73D4-4B51-A34A-4FB0FB2AC6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406" y="1112431"/>
            <a:ext cx="11079408" cy="46867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3949335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D93FB00-5853-41CF-9EB9-9982A9D99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B 2020 Developer's Conference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93AA167-6F38-4C34-A9AD-CCC10A451E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958E42-E2A2-4C86-9E0E-440C3912DFB4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C1464861-D118-4015-9108-B787B25C70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43527" y="2891756"/>
            <a:ext cx="10515600" cy="695049"/>
          </a:xfrm>
        </p:spPr>
        <p:txBody>
          <a:bodyPr/>
          <a:lstStyle/>
          <a:p>
            <a:r>
              <a:rPr lang="en-US" b="1" dirty="0"/>
              <a:t>Summary and Close Out</a:t>
            </a:r>
          </a:p>
        </p:txBody>
      </p:sp>
    </p:spTree>
    <p:extLst>
      <p:ext uri="{BB962C8B-B14F-4D97-AF65-F5344CB8AC3E}">
        <p14:creationId xmlns:p14="http://schemas.microsoft.com/office/powerpoint/2010/main" val="45969207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1743626" y="546483"/>
            <a:ext cx="8958949" cy="467614"/>
          </a:xfrm>
        </p:spPr>
        <p:txBody>
          <a:bodyPr/>
          <a:lstStyle/>
          <a:p>
            <a:r>
              <a:rPr lang="en-US" i="0" dirty="0" err="1">
                <a:solidFill>
                  <a:schemeClr val="tx2"/>
                </a:solidFill>
              </a:rPr>
              <a:t>Eventgroove</a:t>
            </a:r>
            <a:r>
              <a:rPr lang="en-US" i="0" dirty="0">
                <a:solidFill>
                  <a:schemeClr val="tx2"/>
                </a:solidFill>
              </a:rPr>
              <a:t> focused on helping enterprise customers have more efficient and more successful events and fundraisers – in-person, virtual, or hybrid.</a:t>
            </a:r>
          </a:p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716152" y="1651338"/>
            <a:ext cx="8740746" cy="584062"/>
          </a:xfrm>
        </p:spPr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The Event &amp; Fundraising Cycl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891676" y="4234851"/>
            <a:ext cx="1213422" cy="1242376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3175" cap="flat" cmpd="sng" algn="ctr">
            <a:solidFill>
              <a:schemeClr val="tx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4406" tIns="84406" rIns="84406" bIns="33231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lnSpc>
                <a:spcPct val="90000"/>
              </a:lnSpc>
              <a:defRPr sz="12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Franklin Gothic Book" panose="020B0503020102020204" pitchFamily="34" charset="0"/>
              </a:defRPr>
            </a:lvl1pPr>
          </a:lstStyle>
          <a:p>
            <a:pPr marL="158265" indent="-158265" algn="l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969" dirty="0">
              <a:solidFill>
                <a:schemeClr val="tx2"/>
              </a:solidFill>
              <a:sym typeface="Wingding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930228" y="3903331"/>
            <a:ext cx="1212869" cy="125439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3175" cap="flat" cmpd="sng" algn="ctr">
            <a:solidFill>
              <a:schemeClr val="tx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4406" tIns="84406" rIns="84406" bIns="33231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lnSpc>
                <a:spcPct val="90000"/>
              </a:lnSpc>
              <a:defRPr sz="12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Franklin Gothic Book" panose="020B0503020102020204" pitchFamily="34" charset="0"/>
              </a:defRPr>
            </a:lvl1pPr>
          </a:lstStyle>
          <a:p>
            <a:pPr marL="158265" indent="-158265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969" dirty="0">
                <a:solidFill>
                  <a:schemeClr val="tx2"/>
                </a:solidFill>
                <a:sym typeface="Wingdings"/>
              </a:rPr>
              <a:t>Promote event via social media, email marketing</a:t>
            </a:r>
          </a:p>
          <a:p>
            <a:pPr marL="158265" indent="-158265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969" dirty="0">
                <a:solidFill>
                  <a:schemeClr val="tx2"/>
                </a:solidFill>
                <a:sym typeface="Wingdings"/>
              </a:rPr>
              <a:t>Online advertising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174431" y="3903331"/>
            <a:ext cx="1206295" cy="125439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3175" cap="flat" cmpd="sng" algn="ctr">
            <a:solidFill>
              <a:schemeClr val="tx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4406" tIns="84406" rIns="84406" bIns="33231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lnSpc>
                <a:spcPct val="90000"/>
              </a:lnSpc>
              <a:defRPr sz="12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Franklin Gothic Book" panose="020B0503020102020204" pitchFamily="34" charset="0"/>
              </a:defRPr>
            </a:lvl1pPr>
          </a:lstStyle>
          <a:p>
            <a:pPr marL="158265" indent="-158265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969" dirty="0">
                <a:solidFill>
                  <a:schemeClr val="tx2"/>
                </a:solidFill>
                <a:sym typeface="Wingdings"/>
              </a:rPr>
              <a:t>Online ticket </a:t>
            </a:r>
            <a:br>
              <a:rPr lang="en-US" sz="969" dirty="0">
                <a:solidFill>
                  <a:schemeClr val="tx2"/>
                </a:solidFill>
                <a:sym typeface="Wingdings"/>
              </a:rPr>
            </a:br>
            <a:r>
              <a:rPr lang="en-US" sz="969" dirty="0">
                <a:solidFill>
                  <a:schemeClr val="tx2"/>
                </a:solidFill>
                <a:sym typeface="Wingdings"/>
              </a:rPr>
              <a:t>sales via website (desktop &amp; mobile)</a:t>
            </a:r>
          </a:p>
          <a:p>
            <a:pPr marL="158265" indent="-158265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969" dirty="0">
                <a:solidFill>
                  <a:schemeClr val="tx2"/>
                </a:solidFill>
                <a:sym typeface="Wingdings"/>
              </a:rPr>
              <a:t>Upsell buyers </a:t>
            </a:r>
            <a:br>
              <a:rPr lang="en-US" sz="969" dirty="0">
                <a:solidFill>
                  <a:schemeClr val="tx2"/>
                </a:solidFill>
                <a:sym typeface="Wingdings"/>
              </a:rPr>
            </a:br>
            <a:r>
              <a:rPr lang="en-US" sz="969" dirty="0">
                <a:solidFill>
                  <a:schemeClr val="tx2"/>
                </a:solidFill>
                <a:sym typeface="Wingdings"/>
              </a:rPr>
              <a:t>with merchandis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413214" y="3915395"/>
            <a:ext cx="1208035" cy="124120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3175" cap="flat" cmpd="sng" algn="ctr">
            <a:solidFill>
              <a:schemeClr val="tx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4406" tIns="84406" rIns="84406" bIns="33231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lnSpc>
                <a:spcPct val="90000"/>
              </a:lnSpc>
              <a:defRPr sz="12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Franklin Gothic Book" panose="020B0503020102020204" pitchFamily="34" charset="0"/>
              </a:defRPr>
            </a:lvl1pPr>
          </a:lstStyle>
          <a:p>
            <a:pPr marL="158265" indent="-158265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969" dirty="0">
                <a:solidFill>
                  <a:schemeClr val="tx2"/>
                </a:solidFill>
                <a:sym typeface="Wingdings"/>
              </a:rPr>
              <a:t>Distribute e-tickets (scanable or print-at-home)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664863" y="3915395"/>
            <a:ext cx="1192446" cy="124120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3175" cap="flat" cmpd="sng" algn="ctr">
            <a:solidFill>
              <a:schemeClr val="tx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4406" tIns="84406" rIns="84406" bIns="33231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lnSpc>
                <a:spcPct val="90000"/>
              </a:lnSpc>
              <a:defRPr sz="12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Franklin Gothic Book" panose="020B0503020102020204" pitchFamily="34" charset="0"/>
              </a:defRPr>
            </a:lvl1pPr>
          </a:lstStyle>
          <a:p>
            <a:pPr marL="158265" indent="-158265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969" dirty="0">
                <a:solidFill>
                  <a:schemeClr val="tx2"/>
                </a:solidFill>
                <a:sym typeface="Wingdings"/>
              </a:rPr>
              <a:t>Ticket sales </a:t>
            </a:r>
            <a:br>
              <a:rPr lang="en-US" sz="969" dirty="0">
                <a:solidFill>
                  <a:schemeClr val="tx2"/>
                </a:solidFill>
                <a:sym typeface="Wingdings"/>
              </a:rPr>
            </a:br>
            <a:r>
              <a:rPr lang="en-US" sz="969" dirty="0">
                <a:solidFill>
                  <a:schemeClr val="tx2"/>
                </a:solidFill>
                <a:sym typeface="Wingdings"/>
              </a:rPr>
              <a:t>at event </a:t>
            </a:r>
            <a:br>
              <a:rPr lang="en-US" sz="969" dirty="0">
                <a:solidFill>
                  <a:schemeClr val="tx2"/>
                </a:solidFill>
                <a:sym typeface="Wingdings"/>
              </a:rPr>
            </a:br>
            <a:r>
              <a:rPr lang="en-US" sz="969" dirty="0">
                <a:solidFill>
                  <a:schemeClr val="tx2"/>
                </a:solidFill>
                <a:sym typeface="Wingdings"/>
              </a:rPr>
              <a:t>using website</a:t>
            </a:r>
          </a:p>
          <a:p>
            <a:pPr marL="158265" indent="-158265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969" dirty="0">
                <a:solidFill>
                  <a:schemeClr val="tx2"/>
                </a:solidFill>
                <a:sym typeface="Wingdings"/>
              </a:rPr>
              <a:t>Mobile </a:t>
            </a:r>
            <a:br>
              <a:rPr lang="en-US" sz="969" dirty="0">
                <a:solidFill>
                  <a:schemeClr val="tx2"/>
                </a:solidFill>
                <a:sym typeface="Wingdings"/>
              </a:rPr>
            </a:br>
            <a:r>
              <a:rPr lang="en-US" sz="969" dirty="0">
                <a:solidFill>
                  <a:schemeClr val="tx2"/>
                </a:solidFill>
                <a:sym typeface="Wingdings"/>
              </a:rPr>
              <a:t>check-in app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888735" y="3915395"/>
            <a:ext cx="1217652" cy="12440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3175" cap="flat" cmpd="sng" algn="ctr">
            <a:solidFill>
              <a:schemeClr val="tx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4406" tIns="84406" rIns="84406" bIns="33231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lnSpc>
                <a:spcPct val="90000"/>
              </a:lnSpc>
              <a:defRPr sz="12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Franklin Gothic Book" panose="020B0503020102020204" pitchFamily="34" charset="0"/>
              </a:defRPr>
            </a:lvl1pPr>
          </a:lstStyle>
          <a:p>
            <a:pPr marL="158265" indent="-158265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969" dirty="0">
                <a:solidFill>
                  <a:schemeClr val="tx2"/>
                </a:solidFill>
                <a:sym typeface="Wingdings"/>
              </a:rPr>
              <a:t>Online merchandise sales</a:t>
            </a:r>
          </a:p>
          <a:p>
            <a:pPr marL="158265" indent="-158265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969" dirty="0">
                <a:solidFill>
                  <a:schemeClr val="tx2"/>
                </a:solidFill>
                <a:sym typeface="Wingdings"/>
              </a:rPr>
              <a:t>Advertising, sponsorships &amp; endorsement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9349228" y="4236019"/>
            <a:ext cx="1217652" cy="1241208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3175" cap="flat" cmpd="sng" algn="ctr">
            <a:solidFill>
              <a:schemeClr val="tx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4406" tIns="84406" rIns="84406" bIns="33231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lnSpc>
                <a:spcPct val="90000"/>
              </a:lnSpc>
              <a:defRPr sz="12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Franklin Gothic Book" panose="020B0503020102020204" pitchFamily="34" charset="0"/>
              </a:defRPr>
            </a:lvl1pPr>
          </a:lstStyle>
          <a:p>
            <a:pPr marL="158265" indent="-158265" algn="l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969" dirty="0">
              <a:solidFill>
                <a:schemeClr val="tx2"/>
              </a:solidFill>
              <a:sym typeface="Wingding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905135" y="2941218"/>
            <a:ext cx="1213422" cy="1256452"/>
          </a:xfrm>
          <a:prstGeom prst="rect">
            <a:avLst/>
          </a:prstGeom>
          <a:solidFill>
            <a:schemeClr val="bg1">
              <a:lumMod val="75000"/>
              <a:alpha val="90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4406" tIns="84406" rIns="84406" bIns="33231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lnSpc>
                <a:spcPct val="90000"/>
              </a:lnSpc>
              <a:defRPr sz="12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Franklin Gothic Book" panose="020B0503020102020204" pitchFamily="34" charset="0"/>
              </a:defRPr>
            </a:lvl1pPr>
          </a:lstStyle>
          <a:p>
            <a:pPr algn="l">
              <a:lnSpc>
                <a:spcPct val="100000"/>
              </a:lnSpc>
            </a:pPr>
            <a:endParaRPr lang="en-US" sz="969" dirty="0">
              <a:solidFill>
                <a:schemeClr val="tx2"/>
              </a:solidFill>
              <a:sym typeface="Wingding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143979" y="2936397"/>
            <a:ext cx="1215417" cy="1256452"/>
          </a:xfrm>
          <a:prstGeom prst="rect">
            <a:avLst/>
          </a:prstGeom>
          <a:solidFill>
            <a:schemeClr val="bg1">
              <a:lumMod val="75000"/>
              <a:alpha val="90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4406" tIns="84406" rIns="84406" bIns="33231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lnSpc>
                <a:spcPct val="90000"/>
              </a:lnSpc>
              <a:defRPr sz="12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Franklin Gothic Book" panose="020B0503020102020204" pitchFamily="34" charset="0"/>
              </a:defRPr>
            </a:lvl1pPr>
          </a:lstStyle>
          <a:p>
            <a:pPr algn="l">
              <a:lnSpc>
                <a:spcPct val="100000"/>
              </a:lnSpc>
            </a:pPr>
            <a:endParaRPr lang="en-US" sz="969" dirty="0">
              <a:solidFill>
                <a:schemeClr val="tx2"/>
              </a:solidFill>
              <a:sym typeface="Wingdings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387573" y="2936397"/>
            <a:ext cx="1206903" cy="1256452"/>
          </a:xfrm>
          <a:prstGeom prst="rect">
            <a:avLst/>
          </a:prstGeom>
          <a:solidFill>
            <a:schemeClr val="bg1">
              <a:lumMod val="75000"/>
              <a:alpha val="90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4406" tIns="84406" rIns="84406" bIns="33231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lnSpc>
                <a:spcPct val="90000"/>
              </a:lnSpc>
              <a:defRPr sz="12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Franklin Gothic Book" panose="020B0503020102020204" pitchFamily="34" charset="0"/>
              </a:defRPr>
            </a:lvl1pPr>
          </a:lstStyle>
          <a:p>
            <a:pPr marL="158265" indent="-158265" algn="l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969" dirty="0">
              <a:solidFill>
                <a:schemeClr val="tx2"/>
              </a:solidFill>
              <a:sym typeface="Wingdings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626564" y="2942606"/>
            <a:ext cx="1208434" cy="1256452"/>
          </a:xfrm>
          <a:prstGeom prst="rect">
            <a:avLst/>
          </a:prstGeom>
          <a:solidFill>
            <a:schemeClr val="bg1">
              <a:lumMod val="75000"/>
              <a:alpha val="90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4406" tIns="84406" rIns="84406" bIns="33231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lnSpc>
                <a:spcPct val="90000"/>
              </a:lnSpc>
              <a:defRPr sz="12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Franklin Gothic Book" panose="020B0503020102020204" pitchFamily="34" charset="0"/>
              </a:defRPr>
            </a:lvl1pPr>
          </a:lstStyle>
          <a:p>
            <a:pPr marL="158265" indent="-158265" algn="l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969" dirty="0">
              <a:solidFill>
                <a:schemeClr val="tx2"/>
              </a:solidFill>
              <a:sym typeface="Wingdings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870468" y="2936270"/>
            <a:ext cx="1200592" cy="1262788"/>
          </a:xfrm>
          <a:prstGeom prst="rect">
            <a:avLst/>
          </a:prstGeom>
          <a:solidFill>
            <a:schemeClr val="bg1">
              <a:lumMod val="75000"/>
              <a:alpha val="90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4406" tIns="84406" rIns="84406" bIns="33231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lnSpc>
                <a:spcPct val="90000"/>
              </a:lnSpc>
              <a:defRPr sz="12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Franklin Gothic Book" panose="020B0503020102020204" pitchFamily="34" charset="0"/>
              </a:defRPr>
            </a:lvl1pPr>
          </a:lstStyle>
          <a:p>
            <a:pPr marL="158265" indent="-158265" algn="l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969" dirty="0">
              <a:solidFill>
                <a:schemeClr val="tx2"/>
              </a:solidFill>
              <a:sym typeface="Wingding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8102485" y="2936271"/>
            <a:ext cx="1215318" cy="1256579"/>
          </a:xfrm>
          <a:prstGeom prst="rect">
            <a:avLst/>
          </a:prstGeom>
          <a:solidFill>
            <a:schemeClr val="bg1">
              <a:lumMod val="75000"/>
              <a:alpha val="90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4406" tIns="84406" rIns="84406" bIns="33231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lnSpc>
                <a:spcPct val="90000"/>
              </a:lnSpc>
              <a:defRPr sz="12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Franklin Gothic Book" panose="020B0503020102020204" pitchFamily="34" charset="0"/>
              </a:defRPr>
            </a:lvl1pPr>
          </a:lstStyle>
          <a:p>
            <a:pPr marL="158265" indent="-158265" algn="l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969" dirty="0">
              <a:solidFill>
                <a:schemeClr val="tx2"/>
              </a:solidFill>
              <a:sym typeface="Wingdings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9349229" y="2942606"/>
            <a:ext cx="1214075" cy="1256452"/>
          </a:xfrm>
          <a:prstGeom prst="rect">
            <a:avLst/>
          </a:prstGeom>
          <a:solidFill>
            <a:schemeClr val="bg1">
              <a:lumMod val="75000"/>
              <a:alpha val="90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4406" tIns="84406" rIns="84406" bIns="33231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lnSpc>
                <a:spcPct val="90000"/>
              </a:lnSpc>
              <a:defRPr sz="12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Franklin Gothic Book" panose="020B0503020102020204" pitchFamily="34" charset="0"/>
              </a:defRPr>
            </a:lvl1pPr>
          </a:lstStyle>
          <a:p>
            <a:pPr marL="158265" indent="-158265" algn="l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969" dirty="0">
              <a:solidFill>
                <a:schemeClr val="tx2"/>
              </a:solidFill>
              <a:sym typeface="Wingdings"/>
            </a:endParaRPr>
          </a:p>
        </p:txBody>
      </p:sp>
      <p:sp>
        <p:nvSpPr>
          <p:cNvPr id="18" name="Rectangle 17"/>
          <p:cNvSpPr/>
          <p:nvPr/>
        </p:nvSpPr>
        <p:spPr bwMode="auto">
          <a:xfrm>
            <a:off x="1907504" y="2482957"/>
            <a:ext cx="1208684" cy="426930"/>
          </a:xfrm>
          <a:prstGeom prst="rect">
            <a:avLst/>
          </a:prstGeom>
          <a:solidFill>
            <a:srgbClr val="EF6B65"/>
          </a:solidFill>
        </p:spPr>
        <p:txBody>
          <a:bodyPr vert="horz" lIns="84406" tIns="84406" rIns="84406" bIns="84406" rtlCol="0" anchor="ctr" anchorCtr="0">
            <a:noAutofit/>
          </a:bodyPr>
          <a:lstStyle/>
          <a:p>
            <a:pPr algn="ctr">
              <a:spcBef>
                <a:spcPts val="185"/>
              </a:spcBef>
              <a:spcAft>
                <a:spcPts val="185"/>
              </a:spcAft>
            </a:pPr>
            <a:r>
              <a:rPr lang="en-US" sz="1108" b="1" dirty="0">
                <a:solidFill>
                  <a:schemeClr val="bg1"/>
                </a:solidFill>
                <a:highlight>
                  <a:srgbClr val="EF6B65"/>
                </a:highlight>
                <a:latin typeface="+mj-lt"/>
              </a:rPr>
              <a:t>Set up event</a:t>
            </a:r>
          </a:p>
        </p:txBody>
      </p:sp>
      <p:sp>
        <p:nvSpPr>
          <p:cNvPr id="19" name="Rectangle 18"/>
          <p:cNvSpPr/>
          <p:nvPr/>
        </p:nvSpPr>
        <p:spPr bwMode="auto">
          <a:xfrm>
            <a:off x="4380225" y="2482957"/>
            <a:ext cx="1214250" cy="426930"/>
          </a:xfrm>
          <a:prstGeom prst="rect">
            <a:avLst/>
          </a:prstGeom>
          <a:solidFill>
            <a:srgbClr val="EF6B65"/>
          </a:solidFill>
        </p:spPr>
        <p:txBody>
          <a:bodyPr vert="horz" lIns="84406" tIns="84406" rIns="84406" bIns="84406" rtlCol="0" anchor="ctr" anchorCtr="0">
            <a:noAutofit/>
          </a:bodyPr>
          <a:lstStyle/>
          <a:p>
            <a:pPr algn="ctr">
              <a:spcBef>
                <a:spcPts val="185"/>
              </a:spcBef>
              <a:spcAft>
                <a:spcPts val="185"/>
              </a:spcAft>
            </a:pPr>
            <a:r>
              <a:rPr lang="en-US" sz="1108" b="1" dirty="0">
                <a:solidFill>
                  <a:schemeClr val="bg1"/>
                </a:solidFill>
                <a:highlight>
                  <a:srgbClr val="EF6B65"/>
                </a:highlight>
                <a:latin typeface="+mj-lt"/>
              </a:rPr>
              <a:t>Ticket sales </a:t>
            </a:r>
            <a:br>
              <a:rPr lang="en-US" sz="1108" b="1" dirty="0">
                <a:solidFill>
                  <a:schemeClr val="bg1"/>
                </a:solidFill>
                <a:highlight>
                  <a:srgbClr val="EF6B65"/>
                </a:highlight>
                <a:latin typeface="+mj-lt"/>
              </a:rPr>
            </a:br>
            <a:r>
              <a:rPr lang="en-US" sz="1108" b="1" dirty="0">
                <a:solidFill>
                  <a:schemeClr val="bg1"/>
                </a:solidFill>
                <a:highlight>
                  <a:srgbClr val="EF6B65"/>
                </a:highlight>
                <a:latin typeface="+mj-lt"/>
              </a:rPr>
              <a:t>&amp; registration</a:t>
            </a:r>
          </a:p>
        </p:txBody>
      </p:sp>
      <p:sp>
        <p:nvSpPr>
          <p:cNvPr id="20" name="Rectangle 19"/>
          <p:cNvSpPr/>
          <p:nvPr/>
        </p:nvSpPr>
        <p:spPr bwMode="auto">
          <a:xfrm>
            <a:off x="5620748" y="2482957"/>
            <a:ext cx="1214250" cy="426930"/>
          </a:xfrm>
          <a:prstGeom prst="rect">
            <a:avLst/>
          </a:prstGeom>
          <a:solidFill>
            <a:srgbClr val="EF6B65"/>
          </a:solidFill>
        </p:spPr>
        <p:txBody>
          <a:bodyPr vert="horz" lIns="84406" tIns="84406" rIns="84406" bIns="84406" rtlCol="0" anchor="ctr" anchorCtr="0">
            <a:noAutofit/>
          </a:bodyPr>
          <a:lstStyle/>
          <a:p>
            <a:pPr algn="ctr">
              <a:spcBef>
                <a:spcPts val="185"/>
              </a:spcBef>
              <a:spcAft>
                <a:spcPts val="185"/>
              </a:spcAft>
            </a:pPr>
            <a:r>
              <a:rPr lang="en-US" sz="1108" b="1" dirty="0">
                <a:solidFill>
                  <a:schemeClr val="bg1"/>
                </a:solidFill>
                <a:highlight>
                  <a:srgbClr val="EF6B65"/>
                </a:highlight>
                <a:latin typeface="+mj-lt"/>
              </a:rPr>
              <a:t>Distribute tickets </a:t>
            </a:r>
          </a:p>
        </p:txBody>
      </p:sp>
      <p:sp>
        <p:nvSpPr>
          <p:cNvPr id="21" name="Rectangle 20"/>
          <p:cNvSpPr/>
          <p:nvPr/>
        </p:nvSpPr>
        <p:spPr bwMode="auto">
          <a:xfrm>
            <a:off x="6856809" y="2485246"/>
            <a:ext cx="1214250" cy="426930"/>
          </a:xfrm>
          <a:prstGeom prst="rect">
            <a:avLst/>
          </a:prstGeom>
          <a:solidFill>
            <a:srgbClr val="EF6B65"/>
          </a:solidFill>
        </p:spPr>
        <p:txBody>
          <a:bodyPr vert="horz" lIns="84406" tIns="84406" rIns="84406" bIns="84406" rtlCol="0" anchor="ctr" anchorCtr="0">
            <a:noAutofit/>
          </a:bodyPr>
          <a:lstStyle/>
          <a:p>
            <a:pPr algn="ctr">
              <a:spcBef>
                <a:spcPts val="185"/>
              </a:spcBef>
              <a:spcAft>
                <a:spcPts val="185"/>
              </a:spcAft>
            </a:pPr>
            <a:r>
              <a:rPr lang="en-US" sz="1108" b="1" dirty="0">
                <a:solidFill>
                  <a:schemeClr val="bg1"/>
                </a:solidFill>
                <a:highlight>
                  <a:srgbClr val="EF6B65"/>
                </a:highlight>
                <a:latin typeface="+mj-lt"/>
              </a:rPr>
              <a:t>Execute event </a:t>
            </a:r>
          </a:p>
        </p:txBody>
      </p:sp>
      <p:sp>
        <p:nvSpPr>
          <p:cNvPr id="22" name="Rectangle 21"/>
          <p:cNvSpPr/>
          <p:nvPr/>
        </p:nvSpPr>
        <p:spPr bwMode="auto">
          <a:xfrm>
            <a:off x="8096266" y="2485246"/>
            <a:ext cx="1214250" cy="426930"/>
          </a:xfrm>
          <a:prstGeom prst="rect">
            <a:avLst/>
          </a:prstGeom>
          <a:solidFill>
            <a:srgbClr val="EF6B65"/>
          </a:solidFill>
        </p:spPr>
        <p:txBody>
          <a:bodyPr vert="horz" lIns="84406" tIns="84406" rIns="84406" bIns="84406" rtlCol="0" anchor="ctr" anchorCtr="0">
            <a:noAutofit/>
          </a:bodyPr>
          <a:lstStyle/>
          <a:p>
            <a:pPr algn="ctr">
              <a:spcBef>
                <a:spcPts val="185"/>
              </a:spcBef>
              <a:spcAft>
                <a:spcPts val="185"/>
              </a:spcAft>
            </a:pPr>
            <a:r>
              <a:rPr lang="en-US" sz="1108" b="1" dirty="0">
                <a:solidFill>
                  <a:schemeClr val="bg1"/>
                </a:solidFill>
                <a:highlight>
                  <a:srgbClr val="EF6B65"/>
                </a:highlight>
                <a:latin typeface="+mj-lt"/>
              </a:rPr>
              <a:t>Ancillary sales</a:t>
            </a:r>
          </a:p>
        </p:txBody>
      </p:sp>
      <p:sp>
        <p:nvSpPr>
          <p:cNvPr id="23" name="Rectangle 22"/>
          <p:cNvSpPr/>
          <p:nvPr/>
        </p:nvSpPr>
        <p:spPr bwMode="auto">
          <a:xfrm>
            <a:off x="3142986" y="2482957"/>
            <a:ext cx="1208684" cy="426930"/>
          </a:xfrm>
          <a:prstGeom prst="rect">
            <a:avLst/>
          </a:prstGeom>
          <a:solidFill>
            <a:srgbClr val="EF6B65"/>
          </a:solidFill>
        </p:spPr>
        <p:txBody>
          <a:bodyPr vert="horz" lIns="84406" tIns="84406" rIns="84406" bIns="84406" rtlCol="0" anchor="ctr" anchorCtr="0">
            <a:noAutofit/>
          </a:bodyPr>
          <a:lstStyle/>
          <a:p>
            <a:pPr algn="ctr">
              <a:spcBef>
                <a:spcPts val="185"/>
              </a:spcBef>
              <a:spcAft>
                <a:spcPts val="185"/>
              </a:spcAft>
            </a:pPr>
            <a:r>
              <a:rPr lang="en-US" sz="1108" b="1" dirty="0">
                <a:solidFill>
                  <a:schemeClr val="bg1"/>
                </a:solidFill>
                <a:highlight>
                  <a:srgbClr val="EF6B65"/>
                </a:highlight>
                <a:latin typeface="+mj-lt"/>
              </a:rPr>
              <a:t>Market event</a:t>
            </a:r>
          </a:p>
        </p:txBody>
      </p:sp>
      <p:sp>
        <p:nvSpPr>
          <p:cNvPr id="24" name="Rectangle 23"/>
          <p:cNvSpPr/>
          <p:nvPr/>
        </p:nvSpPr>
        <p:spPr bwMode="auto">
          <a:xfrm>
            <a:off x="9341366" y="2485246"/>
            <a:ext cx="1214251" cy="426930"/>
          </a:xfrm>
          <a:prstGeom prst="rect">
            <a:avLst/>
          </a:prstGeom>
          <a:solidFill>
            <a:srgbClr val="EF6B65"/>
          </a:solidFill>
        </p:spPr>
        <p:txBody>
          <a:bodyPr vert="horz" lIns="84406" tIns="84406" rIns="84406" bIns="84406" rtlCol="0" anchor="ctr" anchorCtr="0">
            <a:noAutofit/>
          </a:bodyPr>
          <a:lstStyle/>
          <a:p>
            <a:pPr algn="ctr">
              <a:spcBef>
                <a:spcPts val="185"/>
              </a:spcBef>
              <a:spcAft>
                <a:spcPts val="185"/>
              </a:spcAft>
            </a:pPr>
            <a:r>
              <a:rPr lang="en-US" sz="1108" b="1" dirty="0">
                <a:solidFill>
                  <a:schemeClr val="bg1"/>
                </a:solidFill>
                <a:highlight>
                  <a:srgbClr val="EF6B65"/>
                </a:highlight>
                <a:latin typeface="+mj-lt"/>
              </a:rPr>
              <a:t>Reporting </a:t>
            </a:r>
            <a:br>
              <a:rPr lang="en-US" sz="1108" b="1" dirty="0">
                <a:solidFill>
                  <a:schemeClr val="bg1"/>
                </a:solidFill>
                <a:highlight>
                  <a:srgbClr val="EF6B65"/>
                </a:highlight>
                <a:latin typeface="+mj-lt"/>
              </a:rPr>
            </a:br>
            <a:r>
              <a:rPr lang="en-US" sz="1108" b="1" dirty="0">
                <a:solidFill>
                  <a:schemeClr val="bg1"/>
                </a:solidFill>
                <a:highlight>
                  <a:srgbClr val="EF6B65"/>
                </a:highlight>
                <a:latin typeface="+mj-lt"/>
              </a:rPr>
              <a:t>and admin.</a:t>
            </a:r>
          </a:p>
        </p:txBody>
      </p:sp>
      <p:sp>
        <p:nvSpPr>
          <p:cNvPr id="25" name="Content Placeholder 1"/>
          <p:cNvSpPr txBox="1">
            <a:spLocks/>
          </p:cNvSpPr>
          <p:nvPr/>
        </p:nvSpPr>
        <p:spPr>
          <a:xfrm rot="16200000">
            <a:off x="1096051" y="3426010"/>
            <a:ext cx="1259736" cy="286358"/>
          </a:xfrm>
          <a:prstGeom prst="rect">
            <a:avLst/>
          </a:prstGeom>
          <a:solidFill>
            <a:srgbClr val="EF6B65"/>
          </a:solidFill>
        </p:spPr>
        <p:txBody>
          <a:bodyPr vert="horz" lIns="84406" tIns="0" rIns="84406" bIns="0" rtlCol="0" anchor="ctr" anchorCtr="0">
            <a:noAutofit/>
          </a:bodyPr>
          <a:lstStyle>
            <a:lvl1pPr marL="90000" indent="-90000" algn="l" defTabSz="914400" rtl="0" eaLnBrk="1" latinLnBrk="0" hangingPunct="1">
              <a:spcBef>
                <a:spcPts val="200"/>
              </a:spcBef>
              <a:spcAft>
                <a:spcPts val="200"/>
              </a:spcAft>
              <a:buFont typeface="Wingdings" pitchFamily="2" charset="2"/>
              <a:buChar char="§"/>
              <a:defRPr lang="en-GB" sz="13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90000" algn="l" defTabSz="914400" rtl="0" eaLnBrk="1" latinLnBrk="0" hangingPunct="1">
              <a:spcBef>
                <a:spcPts val="200"/>
              </a:spcBef>
              <a:spcAft>
                <a:spcPts val="200"/>
              </a:spcAft>
              <a:buFont typeface="Wingdings" pitchFamily="2" charset="2"/>
              <a:buChar char="§"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9263" indent="-90000" algn="l" defTabSz="914400" rtl="0" eaLnBrk="1" latinLnBrk="0" hangingPunct="1">
              <a:spcBef>
                <a:spcPts val="200"/>
              </a:spcBef>
              <a:spcAft>
                <a:spcPts val="200"/>
              </a:spcAft>
              <a:buFont typeface="Wingdings" pitchFamily="2" charset="2"/>
              <a:buChar char="§"/>
              <a:defRPr lang="en-US" sz="13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30000" indent="-90000" algn="l" defTabSz="914400" rtl="0" eaLnBrk="1" latinLnBrk="0" hangingPunct="1">
              <a:spcBef>
                <a:spcPts val="200"/>
              </a:spcBef>
              <a:spcAft>
                <a:spcPts val="200"/>
              </a:spcAft>
              <a:buFont typeface="Wingdings" pitchFamily="2" charset="2"/>
              <a:buChar char="§"/>
              <a:defRPr lang="en-GB" sz="13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marR="0" indent="-900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Wingdings" pitchFamily="2" charset="2"/>
              <a:buChar char="§"/>
              <a:tabLst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0000" indent="-90000" algn="l" defTabSz="914400" rtl="0" eaLnBrk="1" latinLnBrk="0" hangingPunct="1">
              <a:spcBef>
                <a:spcPts val="200"/>
              </a:spcBef>
              <a:spcAft>
                <a:spcPts val="200"/>
              </a:spcAft>
              <a:buFont typeface="Wingdings" pitchFamily="2" charset="2"/>
              <a:buChar char="§"/>
              <a:defRPr lang="en-GB" sz="13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70000" marR="0" indent="-900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Wingdings" pitchFamily="2" charset="2"/>
              <a:buChar char="§"/>
              <a:tabLst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50000" indent="-90000" algn="l" defTabSz="914400" rtl="0" eaLnBrk="1" latinLnBrk="0" hangingPunct="1">
              <a:spcBef>
                <a:spcPts val="200"/>
              </a:spcBef>
              <a:spcAft>
                <a:spcPts val="200"/>
              </a:spcAft>
              <a:buFont typeface="Wingdings" pitchFamily="2" charset="2"/>
              <a:buChar char="§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30000" indent="-90000" algn="l" defTabSz="914400" rtl="0" eaLnBrk="1" latinLnBrk="0" hangingPunct="1">
              <a:spcBef>
                <a:spcPts val="200"/>
              </a:spcBef>
              <a:spcAft>
                <a:spcPts val="20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lnSpc>
                <a:spcPct val="90000"/>
              </a:lnSpc>
              <a:buNone/>
            </a:pPr>
            <a:r>
              <a:rPr lang="en-US" sz="1108" b="1" dirty="0">
                <a:solidFill>
                  <a:schemeClr val="tx2"/>
                </a:solidFill>
                <a:highlight>
                  <a:srgbClr val="EF6B65"/>
                </a:highlight>
                <a:latin typeface="+mj-lt"/>
              </a:rPr>
              <a:t>Offline</a:t>
            </a:r>
          </a:p>
        </p:txBody>
      </p:sp>
      <p:sp>
        <p:nvSpPr>
          <p:cNvPr id="26" name="Content Placeholder 1"/>
          <p:cNvSpPr txBox="1">
            <a:spLocks/>
          </p:cNvSpPr>
          <p:nvPr/>
        </p:nvSpPr>
        <p:spPr>
          <a:xfrm rot="16200000">
            <a:off x="1103356" y="4719001"/>
            <a:ext cx="1254659" cy="286358"/>
          </a:xfrm>
          <a:prstGeom prst="rect">
            <a:avLst/>
          </a:prstGeom>
          <a:solidFill>
            <a:srgbClr val="EF6B65"/>
          </a:solidFill>
        </p:spPr>
        <p:txBody>
          <a:bodyPr vert="horz" lIns="84406" tIns="0" rIns="84406" bIns="0" rtlCol="0" anchor="ctr" anchorCtr="0">
            <a:noAutofit/>
          </a:bodyPr>
          <a:lstStyle>
            <a:lvl1pPr marL="90000" indent="-90000" algn="l" defTabSz="914400" rtl="0" eaLnBrk="1" latinLnBrk="0" hangingPunct="1">
              <a:spcBef>
                <a:spcPts val="200"/>
              </a:spcBef>
              <a:spcAft>
                <a:spcPts val="200"/>
              </a:spcAft>
              <a:buFont typeface="Wingdings" pitchFamily="2" charset="2"/>
              <a:buChar char="§"/>
              <a:defRPr lang="en-GB" sz="13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90000" algn="l" defTabSz="914400" rtl="0" eaLnBrk="1" latinLnBrk="0" hangingPunct="1">
              <a:spcBef>
                <a:spcPts val="200"/>
              </a:spcBef>
              <a:spcAft>
                <a:spcPts val="200"/>
              </a:spcAft>
              <a:buFont typeface="Wingdings" pitchFamily="2" charset="2"/>
              <a:buChar char="§"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9263" indent="-90000" algn="l" defTabSz="914400" rtl="0" eaLnBrk="1" latinLnBrk="0" hangingPunct="1">
              <a:spcBef>
                <a:spcPts val="200"/>
              </a:spcBef>
              <a:spcAft>
                <a:spcPts val="200"/>
              </a:spcAft>
              <a:buFont typeface="Wingdings" pitchFamily="2" charset="2"/>
              <a:buChar char="§"/>
              <a:defRPr lang="en-US" sz="13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30000" indent="-90000" algn="l" defTabSz="914400" rtl="0" eaLnBrk="1" latinLnBrk="0" hangingPunct="1">
              <a:spcBef>
                <a:spcPts val="200"/>
              </a:spcBef>
              <a:spcAft>
                <a:spcPts val="200"/>
              </a:spcAft>
              <a:buFont typeface="Wingdings" pitchFamily="2" charset="2"/>
              <a:buChar char="§"/>
              <a:defRPr lang="en-GB" sz="13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marR="0" indent="-900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Wingdings" pitchFamily="2" charset="2"/>
              <a:buChar char="§"/>
              <a:tabLst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0000" indent="-90000" algn="l" defTabSz="914400" rtl="0" eaLnBrk="1" latinLnBrk="0" hangingPunct="1">
              <a:spcBef>
                <a:spcPts val="200"/>
              </a:spcBef>
              <a:spcAft>
                <a:spcPts val="200"/>
              </a:spcAft>
              <a:buFont typeface="Wingdings" pitchFamily="2" charset="2"/>
              <a:buChar char="§"/>
              <a:defRPr lang="en-GB" sz="13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70000" marR="0" indent="-900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Wingdings" pitchFamily="2" charset="2"/>
              <a:buChar char="§"/>
              <a:tabLst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50000" indent="-90000" algn="l" defTabSz="914400" rtl="0" eaLnBrk="1" latinLnBrk="0" hangingPunct="1">
              <a:spcBef>
                <a:spcPts val="200"/>
              </a:spcBef>
              <a:spcAft>
                <a:spcPts val="200"/>
              </a:spcAft>
              <a:buFont typeface="Wingdings" pitchFamily="2" charset="2"/>
              <a:buChar char="§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30000" indent="-90000" algn="l" defTabSz="914400" rtl="0" eaLnBrk="1" latinLnBrk="0" hangingPunct="1">
              <a:spcBef>
                <a:spcPts val="200"/>
              </a:spcBef>
              <a:spcAft>
                <a:spcPts val="20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lnSpc>
                <a:spcPct val="90000"/>
              </a:lnSpc>
              <a:buNone/>
            </a:pPr>
            <a:r>
              <a:rPr lang="en-US" sz="1108" b="1" dirty="0">
                <a:solidFill>
                  <a:schemeClr val="tx2"/>
                </a:solidFill>
                <a:highlight>
                  <a:srgbClr val="EF6B65"/>
                </a:highlight>
                <a:latin typeface="+mj-lt"/>
              </a:rPr>
              <a:t>Online</a:t>
            </a:r>
          </a:p>
        </p:txBody>
      </p:sp>
      <p:cxnSp>
        <p:nvCxnSpPr>
          <p:cNvPr id="46" name="Straight Arrow Connector 45"/>
          <p:cNvCxnSpPr/>
          <p:nvPr/>
        </p:nvCxnSpPr>
        <p:spPr>
          <a:xfrm flipH="1" flipV="1">
            <a:off x="-2011381" y="296097"/>
            <a:ext cx="2958" cy="88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17E2B97B-B50F-554A-B165-D1553F779007}"/>
              </a:ext>
            </a:extLst>
          </p:cNvPr>
          <p:cNvSpPr txBox="1"/>
          <p:nvPr/>
        </p:nvSpPr>
        <p:spPr>
          <a:xfrm>
            <a:off x="8263946" y="4470676"/>
            <a:ext cx="1212869" cy="125439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3175" cap="flat" cmpd="sng" algn="ctr">
            <a:solidFill>
              <a:schemeClr val="tx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4406" tIns="84406" rIns="84406" bIns="33231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lnSpc>
                <a:spcPct val="90000"/>
              </a:lnSpc>
              <a:defRPr sz="12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Franklin Gothic Book" panose="020B0503020102020204" pitchFamily="34" charset="0"/>
              </a:defRPr>
            </a:lvl1pPr>
          </a:lstStyle>
          <a:p>
            <a:pPr marL="158265" indent="-158265" algn="l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969" dirty="0">
              <a:solidFill>
                <a:schemeClr val="tx1"/>
              </a:solidFill>
              <a:sym typeface="Wingding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A381071-4E75-EC49-A0F8-8D979E2F138C}"/>
              </a:ext>
            </a:extLst>
          </p:cNvPr>
          <p:cNvSpPr txBox="1"/>
          <p:nvPr/>
        </p:nvSpPr>
        <p:spPr>
          <a:xfrm>
            <a:off x="4541686" y="4469864"/>
            <a:ext cx="1212869" cy="125439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3175" cap="flat" cmpd="sng" algn="ctr">
            <a:solidFill>
              <a:schemeClr val="tx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4406" tIns="84406" rIns="84406" bIns="33231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lnSpc>
                <a:spcPct val="90000"/>
              </a:lnSpc>
              <a:defRPr sz="12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Franklin Gothic Book" panose="020B0503020102020204" pitchFamily="34" charset="0"/>
              </a:defRPr>
            </a:lvl1pPr>
          </a:lstStyle>
          <a:p>
            <a:pPr marL="158265" indent="-158265" algn="l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969" dirty="0">
              <a:solidFill>
                <a:schemeClr val="tx1"/>
              </a:solidFill>
              <a:sym typeface="Wingding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A1432752-39B3-CA44-947C-25431D167B37}"/>
              </a:ext>
            </a:extLst>
          </p:cNvPr>
          <p:cNvSpPr txBox="1"/>
          <p:nvPr/>
        </p:nvSpPr>
        <p:spPr>
          <a:xfrm>
            <a:off x="3311229" y="4470055"/>
            <a:ext cx="1212869" cy="125439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3175" cap="flat" cmpd="sng" algn="ctr">
            <a:solidFill>
              <a:schemeClr val="tx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4406" tIns="84406" rIns="84406" bIns="33231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lnSpc>
                <a:spcPct val="90000"/>
              </a:lnSpc>
              <a:defRPr sz="12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Franklin Gothic Book" panose="020B0503020102020204" pitchFamily="34" charset="0"/>
              </a:defRPr>
            </a:lvl1pPr>
          </a:lstStyle>
          <a:p>
            <a:pPr marL="158265" indent="-158265" algn="l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969" dirty="0">
              <a:solidFill>
                <a:schemeClr val="tx1"/>
              </a:solidFill>
              <a:sym typeface="Wingdings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88C7100B-E21C-8541-AED6-1551E0FD7168}"/>
              </a:ext>
            </a:extLst>
          </p:cNvPr>
          <p:cNvSpPr txBox="1"/>
          <p:nvPr/>
        </p:nvSpPr>
        <p:spPr>
          <a:xfrm>
            <a:off x="5794215" y="4482119"/>
            <a:ext cx="1208035" cy="124120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3175" cap="flat" cmpd="sng" algn="ctr">
            <a:solidFill>
              <a:schemeClr val="tx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4406" tIns="84406" rIns="84406" bIns="33231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lnSpc>
                <a:spcPct val="90000"/>
              </a:lnSpc>
              <a:defRPr sz="12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Franklin Gothic Book" panose="020B0503020102020204" pitchFamily="34" charset="0"/>
              </a:defRPr>
            </a:lvl1pPr>
          </a:lstStyle>
          <a:p>
            <a:pPr marL="158265" indent="-158265" algn="l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969" dirty="0">
              <a:solidFill>
                <a:schemeClr val="tx1"/>
              </a:solidFill>
              <a:sym typeface="Wingdings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FFDB8364-5976-674C-914F-7B70998666F3}"/>
              </a:ext>
            </a:extLst>
          </p:cNvPr>
          <p:cNvSpPr txBox="1"/>
          <p:nvPr/>
        </p:nvSpPr>
        <p:spPr>
          <a:xfrm>
            <a:off x="7045863" y="4482119"/>
            <a:ext cx="1192446" cy="124120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3175" cap="flat" cmpd="sng" algn="ctr">
            <a:solidFill>
              <a:schemeClr val="tx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4406" tIns="84406" rIns="84406" bIns="33231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lnSpc>
                <a:spcPct val="90000"/>
              </a:lnSpc>
              <a:defRPr sz="12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Franklin Gothic Book" panose="020B0503020102020204" pitchFamily="34" charset="0"/>
              </a:defRPr>
            </a:lvl1pPr>
          </a:lstStyle>
          <a:p>
            <a:pPr marL="158265" indent="-158265" algn="l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969" dirty="0">
              <a:solidFill>
                <a:schemeClr val="tx1"/>
              </a:solidFill>
              <a:sym typeface="Wingdings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37C6F22A-A3B4-9F48-9270-A0121E1C7C65}"/>
              </a:ext>
            </a:extLst>
          </p:cNvPr>
          <p:cNvSpPr txBox="1"/>
          <p:nvPr/>
        </p:nvSpPr>
        <p:spPr>
          <a:xfrm>
            <a:off x="5993467" y="4081461"/>
            <a:ext cx="844062" cy="538113"/>
          </a:xfrm>
          <a:prstGeom prst="rect">
            <a:avLst/>
          </a:prstGeom>
          <a:ln>
            <a:noFill/>
          </a:ln>
        </p:spPr>
        <p:txBody>
          <a:bodyPr vert="horz" wrap="none" lIns="66462" tIns="33231" rIns="66462" bIns="33231" rtlCol="0">
            <a:noAutofit/>
          </a:bodyPr>
          <a:lstStyle/>
          <a:p>
            <a:pPr>
              <a:spcBef>
                <a:spcPts val="185"/>
              </a:spcBef>
              <a:spcAft>
                <a:spcPts val="185"/>
              </a:spcAft>
            </a:pPr>
            <a:r>
              <a:rPr lang="en-US" sz="1200" dirty="0"/>
              <a:t>Volunteers</a:t>
            </a:r>
          </a:p>
        </p:txBody>
      </p:sp>
      <p:sp>
        <p:nvSpPr>
          <p:cNvPr id="63" name="Rectangle: Rounded Corners 24">
            <a:extLst>
              <a:ext uri="{FF2B5EF4-FFF2-40B4-BE49-F238E27FC236}">
                <a16:creationId xmlns:a16="http://schemas.microsoft.com/office/drawing/2014/main" id="{5BD263B4-DB64-0344-9C9A-DEEC9659CC32}"/>
              </a:ext>
            </a:extLst>
          </p:cNvPr>
          <p:cNvSpPr/>
          <p:nvPr/>
        </p:nvSpPr>
        <p:spPr bwMode="auto">
          <a:xfrm>
            <a:off x="2797391" y="3335465"/>
            <a:ext cx="6912768" cy="3087419"/>
          </a:xfrm>
          <a:prstGeom prst="roundRect">
            <a:avLst/>
          </a:prstGeom>
          <a:solidFill>
            <a:schemeClr val="bg1"/>
          </a:solidFill>
          <a:ln w="19050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6462" tIns="33231" rIns="66462" bIns="33231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en-US" sz="1200" dirty="0">
              <a:highlight>
                <a:srgbClr val="E39B31"/>
              </a:highlight>
              <a:latin typeface="+mj-lt"/>
            </a:endParaRPr>
          </a:p>
        </p:txBody>
      </p:sp>
      <p:sp>
        <p:nvSpPr>
          <p:cNvPr id="65" name="Rectangle: Rounded Corners 26">
            <a:extLst>
              <a:ext uri="{FF2B5EF4-FFF2-40B4-BE49-F238E27FC236}">
                <a16:creationId xmlns:a16="http://schemas.microsoft.com/office/drawing/2014/main" id="{7E43F0F4-E2B5-D44D-AFF8-D772FF6517FF}"/>
              </a:ext>
            </a:extLst>
          </p:cNvPr>
          <p:cNvSpPr/>
          <p:nvPr/>
        </p:nvSpPr>
        <p:spPr bwMode="auto">
          <a:xfrm>
            <a:off x="4369145" y="4877013"/>
            <a:ext cx="754759" cy="664727"/>
          </a:xfrm>
          <a:prstGeom prst="roundRect">
            <a:avLst/>
          </a:prstGeom>
          <a:solidFill>
            <a:srgbClr val="0095D0"/>
          </a:solidFill>
          <a:ln w="28575" cap="flat" cmpd="sng" algn="ctr">
            <a:solidFill>
              <a:schemeClr val="accent1">
                <a:lumMod val="20000"/>
                <a:lumOff val="8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6462" tIns="33231" rIns="66462" bIns="33231" numCol="1" rtlCol="0" anchor="ctr" anchorCtr="1" compatLnSpc="1">
            <a:prstTxWarp prst="textNoShape">
              <a:avLst/>
            </a:prstTxWarp>
          </a:bodyPr>
          <a:lstStyle/>
          <a:p>
            <a:pPr algn="ctr"/>
            <a:r>
              <a:rPr lang="en-US" sz="969" b="1" dirty="0">
                <a:solidFill>
                  <a:schemeClr val="tx2"/>
                </a:solidFill>
                <a:latin typeface="+mj-lt"/>
              </a:rPr>
              <a:t>Merch</a:t>
            </a:r>
          </a:p>
        </p:txBody>
      </p:sp>
      <p:sp>
        <p:nvSpPr>
          <p:cNvPr id="67" name="Rectangle: Rounded Corners 29">
            <a:extLst>
              <a:ext uri="{FF2B5EF4-FFF2-40B4-BE49-F238E27FC236}">
                <a16:creationId xmlns:a16="http://schemas.microsoft.com/office/drawing/2014/main" id="{38E72C5E-A45A-0E44-AA98-2D6B7C7B7C53}"/>
              </a:ext>
            </a:extLst>
          </p:cNvPr>
          <p:cNvSpPr/>
          <p:nvPr/>
        </p:nvSpPr>
        <p:spPr bwMode="auto">
          <a:xfrm>
            <a:off x="6314023" y="4877100"/>
            <a:ext cx="978236" cy="664727"/>
          </a:xfrm>
          <a:prstGeom prst="roundRect">
            <a:avLst/>
          </a:prstGeom>
          <a:solidFill>
            <a:srgbClr val="0095D0"/>
          </a:solidFill>
          <a:ln w="28575" cap="flat" cmpd="sng" algn="ctr">
            <a:solidFill>
              <a:schemeClr val="accent1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6462" tIns="33231" rIns="66462" bIns="33231" numCol="1" rtlCol="0" anchor="ctr" anchorCtr="1" compatLnSpc="1">
            <a:prstTxWarp prst="textNoShape">
              <a:avLst/>
            </a:prstTxWarp>
          </a:bodyPr>
          <a:lstStyle/>
          <a:p>
            <a:pPr algn="ctr"/>
            <a:r>
              <a:rPr lang="en-US" sz="969" b="1" dirty="0">
                <a:solidFill>
                  <a:schemeClr val="tx2"/>
                </a:solidFill>
                <a:latin typeface="+mj-lt"/>
              </a:rPr>
              <a:t>Marketing, Registration/Ticketing</a:t>
            </a:r>
          </a:p>
        </p:txBody>
      </p:sp>
      <p:sp>
        <p:nvSpPr>
          <p:cNvPr id="68" name="Rectangle: Rounded Corners 31">
            <a:extLst>
              <a:ext uri="{FF2B5EF4-FFF2-40B4-BE49-F238E27FC236}">
                <a16:creationId xmlns:a16="http://schemas.microsoft.com/office/drawing/2014/main" id="{7F85938C-8469-C941-ADF3-95675A6AF812}"/>
              </a:ext>
            </a:extLst>
          </p:cNvPr>
          <p:cNvSpPr/>
          <p:nvPr/>
        </p:nvSpPr>
        <p:spPr bwMode="auto">
          <a:xfrm>
            <a:off x="7662687" y="4894497"/>
            <a:ext cx="1839763" cy="664727"/>
          </a:xfrm>
          <a:prstGeom prst="roundRect">
            <a:avLst/>
          </a:prstGeom>
          <a:solidFill>
            <a:srgbClr val="0095D0"/>
          </a:solidFill>
          <a:ln w="28575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6462" tIns="33231" rIns="66462" bIns="33231" numCol="1" rtlCol="0" anchor="ctr" anchorCtr="1" compatLnSpc="1">
            <a:prstTxWarp prst="textNoShape">
              <a:avLst/>
            </a:prstTxWarp>
          </a:bodyPr>
          <a:lstStyle/>
          <a:p>
            <a:pPr algn="ctr"/>
            <a:r>
              <a:rPr lang="en-US" sz="969" b="1" dirty="0">
                <a:solidFill>
                  <a:schemeClr val="tx2"/>
                </a:solidFill>
                <a:latin typeface="+mj-lt"/>
              </a:rPr>
              <a:t>Fundraising </a:t>
            </a:r>
          </a:p>
          <a:p>
            <a:pPr algn="ctr"/>
            <a:r>
              <a:rPr lang="en-US" sz="969" b="1" dirty="0">
                <a:solidFill>
                  <a:schemeClr val="tx2"/>
                </a:solidFill>
                <a:latin typeface="+mj-lt"/>
              </a:rPr>
              <a:t>Solutions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86918DE1-066D-634A-86FD-499BB86E27BB}"/>
              </a:ext>
            </a:extLst>
          </p:cNvPr>
          <p:cNvSpPr/>
          <p:nvPr/>
        </p:nvSpPr>
        <p:spPr>
          <a:xfrm>
            <a:off x="3633907" y="4096163"/>
            <a:ext cx="5722542" cy="27699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en-US" sz="1200" i="1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ne-stop integrated platform for events &amp; fundraising</a:t>
            </a: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6EFCAC40-809F-0A46-A0C0-142C09DD704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0813" y="3574344"/>
            <a:ext cx="3971918" cy="479138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2" name="Rectangle 71">
            <a:extLst>
              <a:ext uri="{FF2B5EF4-FFF2-40B4-BE49-F238E27FC236}">
                <a16:creationId xmlns:a16="http://schemas.microsoft.com/office/drawing/2014/main" id="{C30DA2C7-7E43-CC45-86C8-E658FB0E289A}"/>
              </a:ext>
            </a:extLst>
          </p:cNvPr>
          <p:cNvSpPr/>
          <p:nvPr/>
        </p:nvSpPr>
        <p:spPr>
          <a:xfrm>
            <a:off x="3128684" y="4528042"/>
            <a:ext cx="1826141" cy="2628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8" b="1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ustom E-commerce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4CB325F-B8E6-5945-901A-3A9FAD7E52E7}"/>
              </a:ext>
            </a:extLst>
          </p:cNvPr>
          <p:cNvSpPr/>
          <p:nvPr/>
        </p:nvSpPr>
        <p:spPr>
          <a:xfrm>
            <a:off x="5321899" y="4533094"/>
            <a:ext cx="1930867" cy="262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108" b="1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vent Management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FDEFA597-4A87-E244-89CE-F9452BA33256}"/>
              </a:ext>
            </a:extLst>
          </p:cNvPr>
          <p:cNvSpPr/>
          <p:nvPr/>
        </p:nvSpPr>
        <p:spPr>
          <a:xfrm>
            <a:off x="8019741" y="4574828"/>
            <a:ext cx="1125628" cy="2628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108" b="1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undraising</a:t>
            </a:r>
          </a:p>
        </p:txBody>
      </p:sp>
      <p:pic>
        <p:nvPicPr>
          <p:cNvPr id="75" name="Picture 74" descr="A picture containing drawing&#10;&#10;Description automatically generated">
            <a:extLst>
              <a:ext uri="{FF2B5EF4-FFF2-40B4-BE49-F238E27FC236}">
                <a16:creationId xmlns:a16="http://schemas.microsoft.com/office/drawing/2014/main" id="{3B7C3F13-2E3E-9749-B904-FF27008B620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714" y="5705655"/>
            <a:ext cx="1615735" cy="303758"/>
          </a:xfrm>
          <a:prstGeom prst="rect">
            <a:avLst/>
          </a:prstGeom>
        </p:spPr>
      </p:pic>
      <p:pic>
        <p:nvPicPr>
          <p:cNvPr id="76" name="Picture 75" descr="A picture containing drawing, food&#10;&#10;Description automatically generated">
            <a:extLst>
              <a:ext uri="{FF2B5EF4-FFF2-40B4-BE49-F238E27FC236}">
                <a16:creationId xmlns:a16="http://schemas.microsoft.com/office/drawing/2014/main" id="{0587434E-A2FE-0A49-A51F-EB3B586B33C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0916" y="5694795"/>
            <a:ext cx="1765065" cy="335090"/>
          </a:xfrm>
          <a:prstGeom prst="rect">
            <a:avLst/>
          </a:prstGeom>
        </p:spPr>
      </p:pic>
      <p:pic>
        <p:nvPicPr>
          <p:cNvPr id="78" name="Picture 77" descr="A picture containing clock&#10;&#10;Description automatically generated">
            <a:extLst>
              <a:ext uri="{FF2B5EF4-FFF2-40B4-BE49-F238E27FC236}">
                <a16:creationId xmlns:a16="http://schemas.microsoft.com/office/drawing/2014/main" id="{75EF1544-589D-B643-A88B-B9D5B61C989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3842" y="5719472"/>
            <a:ext cx="1588358" cy="301543"/>
          </a:xfrm>
          <a:prstGeom prst="rect">
            <a:avLst/>
          </a:prstGeom>
        </p:spPr>
      </p:pic>
      <p:sp>
        <p:nvSpPr>
          <p:cNvPr id="64" name="Rectangle: Rounded Corners 25">
            <a:extLst>
              <a:ext uri="{FF2B5EF4-FFF2-40B4-BE49-F238E27FC236}">
                <a16:creationId xmlns:a16="http://schemas.microsoft.com/office/drawing/2014/main" id="{E2A411C2-C657-0147-9B31-5A424E8F9100}"/>
              </a:ext>
            </a:extLst>
          </p:cNvPr>
          <p:cNvSpPr/>
          <p:nvPr/>
        </p:nvSpPr>
        <p:spPr bwMode="auto">
          <a:xfrm>
            <a:off x="3098984" y="4877100"/>
            <a:ext cx="1267427" cy="664727"/>
          </a:xfrm>
          <a:prstGeom prst="roundRect">
            <a:avLst/>
          </a:prstGeom>
          <a:solidFill>
            <a:srgbClr val="0095D0"/>
          </a:solidFill>
          <a:ln w="28575" cap="flat" cmpd="sng" algn="ctr">
            <a:solidFill>
              <a:schemeClr val="accent1">
                <a:lumMod val="20000"/>
                <a:lumOff val="8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6462" tIns="33231" rIns="66462" bIns="33231" numCol="1" rtlCol="0" anchor="ctr" anchorCtr="1" compatLnSpc="1">
            <a:prstTxWarp prst="textNoShape">
              <a:avLst/>
            </a:prstTxWarp>
          </a:bodyPr>
          <a:lstStyle/>
          <a:p>
            <a:pPr algn="ctr"/>
            <a:r>
              <a:rPr lang="en-US" sz="969" b="1" dirty="0">
                <a:solidFill>
                  <a:schemeClr val="tx2"/>
                </a:solidFill>
                <a:latin typeface="+mj-lt"/>
              </a:rPr>
              <a:t>Event/Fundraising</a:t>
            </a:r>
            <a:br>
              <a:rPr lang="en-US" sz="969" b="1" dirty="0">
                <a:solidFill>
                  <a:schemeClr val="tx2"/>
                </a:solidFill>
                <a:latin typeface="+mj-lt"/>
              </a:rPr>
            </a:br>
            <a:r>
              <a:rPr lang="en-US" sz="969" b="1" dirty="0">
                <a:solidFill>
                  <a:schemeClr val="tx2"/>
                </a:solidFill>
                <a:latin typeface="+mj-lt"/>
              </a:rPr>
              <a:t>products</a:t>
            </a:r>
          </a:p>
        </p:txBody>
      </p:sp>
      <p:sp>
        <p:nvSpPr>
          <p:cNvPr id="66" name="Rectangle: Rounded Corners 28">
            <a:extLst>
              <a:ext uri="{FF2B5EF4-FFF2-40B4-BE49-F238E27FC236}">
                <a16:creationId xmlns:a16="http://schemas.microsoft.com/office/drawing/2014/main" id="{DCA84CF7-3C01-2644-BA20-ADC2542AB87E}"/>
              </a:ext>
            </a:extLst>
          </p:cNvPr>
          <p:cNvSpPr/>
          <p:nvPr/>
        </p:nvSpPr>
        <p:spPr bwMode="auto">
          <a:xfrm>
            <a:off x="5383458" y="4872972"/>
            <a:ext cx="978236" cy="664727"/>
          </a:xfrm>
          <a:prstGeom prst="roundRect">
            <a:avLst/>
          </a:prstGeom>
          <a:solidFill>
            <a:srgbClr val="0095D0"/>
          </a:solidFill>
          <a:ln w="28575" cap="flat" cmpd="sng" algn="ctr">
            <a:solidFill>
              <a:schemeClr val="accent1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6462" tIns="33231" rIns="66462" bIns="33231" numCol="1" rtlCol="0" anchor="ctr" anchorCtr="1" compatLnSpc="1">
            <a:prstTxWarp prst="textNoShape">
              <a:avLst/>
            </a:prstTxWarp>
          </a:bodyPr>
          <a:lstStyle/>
          <a:p>
            <a:pPr algn="ctr"/>
            <a:r>
              <a:rPr lang="en-US" sz="969" b="1" dirty="0">
                <a:solidFill>
                  <a:schemeClr val="tx2"/>
                </a:solidFill>
                <a:latin typeface="+mj-lt"/>
              </a:rPr>
              <a:t>Event Platform &amp; Private Label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BA4BEB17-66DC-D44C-A90D-67E3649BC80D}"/>
              </a:ext>
            </a:extLst>
          </p:cNvPr>
          <p:cNvSpPr/>
          <p:nvPr/>
        </p:nvSpPr>
        <p:spPr>
          <a:xfrm>
            <a:off x="1524000" y="3861"/>
            <a:ext cx="9144000" cy="430306"/>
          </a:xfrm>
          <a:prstGeom prst="rect">
            <a:avLst/>
          </a:prstGeom>
          <a:solidFill>
            <a:srgbClr val="EF6B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0B440"/>
              </a:solidFill>
              <a:highlight>
                <a:srgbClr val="F0B44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57331665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1524000" y="6427694"/>
            <a:ext cx="9144000" cy="430306"/>
          </a:xfrm>
          <a:prstGeom prst="rect">
            <a:avLst/>
          </a:prstGeom>
          <a:solidFill>
            <a:srgbClr val="EF6B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0B440"/>
              </a:solidFill>
              <a:highlight>
                <a:srgbClr val="F0B440"/>
              </a:highlight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0185440-6F66-144F-8E8E-62973E9527EF}"/>
              </a:ext>
            </a:extLst>
          </p:cNvPr>
          <p:cNvSpPr/>
          <p:nvPr/>
        </p:nvSpPr>
        <p:spPr>
          <a:xfrm>
            <a:off x="1442099" y="4514245"/>
            <a:ext cx="348658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dirty="0">
              <a:solidFill>
                <a:schemeClr val="tx2">
                  <a:lumMod val="75000"/>
                  <a:lumOff val="25000"/>
                </a:schemeClr>
              </a:solidFill>
              <a:latin typeface="Lato" charset="0"/>
              <a:ea typeface="Lato" charset="0"/>
              <a:cs typeface="Lato" charset="0"/>
            </a:endParaRPr>
          </a:p>
          <a:p>
            <a:pPr marL="342900" indent="-342900">
              <a:buFont typeface="Arial" charset="0"/>
              <a:buChar char="•"/>
            </a:pPr>
            <a:endParaRPr lang="en-US" dirty="0">
              <a:solidFill>
                <a:schemeClr val="tx2">
                  <a:lumMod val="75000"/>
                  <a:lumOff val="25000"/>
                </a:schemeClr>
              </a:solidFill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8B1995D-14CD-8349-A3F3-448C270A7E36}"/>
              </a:ext>
            </a:extLst>
          </p:cNvPr>
          <p:cNvSpPr/>
          <p:nvPr/>
        </p:nvSpPr>
        <p:spPr bwMode="auto">
          <a:xfrm>
            <a:off x="1835335" y="3345697"/>
            <a:ext cx="2598126" cy="365213"/>
          </a:xfrm>
          <a:prstGeom prst="rect">
            <a:avLst/>
          </a:prstGeom>
          <a:solidFill>
            <a:srgbClr val="EF6B65"/>
          </a:solidFill>
        </p:spPr>
        <p:txBody>
          <a:bodyPr vert="horz" lIns="84406" tIns="84406" rIns="84406" bIns="84406" rtlCol="0" anchor="ctr" anchorCtr="0">
            <a:noAutofit/>
          </a:bodyPr>
          <a:lstStyle/>
          <a:p>
            <a:pPr algn="ctr">
              <a:spcBef>
                <a:spcPts val="185"/>
              </a:spcBef>
              <a:spcAft>
                <a:spcPts val="185"/>
              </a:spcAft>
            </a:pPr>
            <a:r>
              <a:rPr lang="en-US" sz="1477" b="1" dirty="0">
                <a:solidFill>
                  <a:schemeClr val="bg1"/>
                </a:solidFill>
                <a:latin typeface="+mj-lt"/>
              </a:rPr>
              <a:t>Ducks Events Center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61A5BF8C-31DB-A64A-BA82-0C3DEE29BB68}"/>
              </a:ext>
            </a:extLst>
          </p:cNvPr>
          <p:cNvGrpSpPr/>
          <p:nvPr/>
        </p:nvGrpSpPr>
        <p:grpSpPr>
          <a:xfrm>
            <a:off x="4530200" y="3345696"/>
            <a:ext cx="3350073" cy="3079170"/>
            <a:chOff x="3006199" y="3343517"/>
            <a:chExt cx="3537112" cy="3081386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CEA7973A-7011-D44B-BBCD-776842B066CA}"/>
                </a:ext>
              </a:extLst>
            </p:cNvPr>
            <p:cNvGrpSpPr/>
            <p:nvPr/>
          </p:nvGrpSpPr>
          <p:grpSpPr>
            <a:xfrm>
              <a:off x="3006199" y="3928571"/>
              <a:ext cx="1603935" cy="1003176"/>
              <a:chOff x="2988584" y="1283106"/>
              <a:chExt cx="1968116" cy="1119309"/>
            </a:xfrm>
          </p:grpSpPr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75198D0B-FB00-FA42-936D-2FEC0CF88D5D}"/>
                  </a:ext>
                </a:extLst>
              </p:cNvPr>
              <p:cNvSpPr/>
              <p:nvPr/>
            </p:nvSpPr>
            <p:spPr>
              <a:xfrm>
                <a:off x="2988584" y="2110309"/>
                <a:ext cx="1968116" cy="29210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100" b="1" dirty="0">
                    <a:solidFill>
                      <a:srgbClr val="00B9C8"/>
                    </a:solidFill>
                    <a:latin typeface="Lato" panose="020F0502020204030203" pitchFamily="34" charset="77"/>
                  </a:rPr>
                  <a:t>RAFFLES</a:t>
                </a:r>
              </a:p>
            </p:txBody>
          </p:sp>
          <p:pic>
            <p:nvPicPr>
              <p:cNvPr id="17" name="Picture 16" descr="A picture containing graphics, toy&#10;&#10;Description automatically generated">
                <a:extLst>
                  <a:ext uri="{FF2B5EF4-FFF2-40B4-BE49-F238E27FC236}">
                    <a16:creationId xmlns:a16="http://schemas.microsoft.com/office/drawing/2014/main" id="{747B44D0-C4F2-B448-9858-ED294F704A5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 flipH="1">
                <a:off x="3604741" y="1283106"/>
                <a:ext cx="735801" cy="735801"/>
              </a:xfrm>
              <a:prstGeom prst="rect">
                <a:avLst/>
              </a:prstGeom>
            </p:spPr>
          </p:pic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A86ACF1B-3916-3443-BAE1-F739B7650D19}"/>
                </a:ext>
              </a:extLst>
            </p:cNvPr>
            <p:cNvGrpSpPr/>
            <p:nvPr/>
          </p:nvGrpSpPr>
          <p:grpSpPr>
            <a:xfrm>
              <a:off x="5002808" y="3847600"/>
              <a:ext cx="1540503" cy="1097678"/>
              <a:chOff x="5294582" y="1182339"/>
              <a:chExt cx="1968116" cy="1247650"/>
            </a:xfrm>
          </p:grpSpPr>
          <p:pic>
            <p:nvPicPr>
              <p:cNvPr id="11" name="Picture 10" descr="A close up of graphics&#10;&#10;Description automatically generated">
                <a:extLst>
                  <a:ext uri="{FF2B5EF4-FFF2-40B4-BE49-F238E27FC236}">
                    <a16:creationId xmlns:a16="http://schemas.microsoft.com/office/drawing/2014/main" id="{DA4B664F-C42D-E847-AF59-7DBFDE5CF84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 flipH="1">
                <a:off x="5910739" y="1182339"/>
                <a:ext cx="735801" cy="735801"/>
              </a:xfrm>
              <a:prstGeom prst="rect">
                <a:avLst/>
              </a:prstGeom>
            </p:spPr>
          </p:pic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959015A1-37EB-DE4A-8330-1B6871EE1950}"/>
                  </a:ext>
                </a:extLst>
              </p:cNvPr>
              <p:cNvSpPr/>
              <p:nvPr/>
            </p:nvSpPr>
            <p:spPr>
              <a:xfrm>
                <a:off x="5294582" y="2132422"/>
                <a:ext cx="1968116" cy="29756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100" b="1" dirty="0">
                    <a:solidFill>
                      <a:srgbClr val="00B9C8"/>
                    </a:solidFill>
                    <a:latin typeface="Lato" panose="020F0502020204030203" pitchFamily="34" charset="77"/>
                  </a:rPr>
                  <a:t>A-THONS</a:t>
                </a:r>
              </a:p>
            </p:txBody>
          </p:sp>
        </p:grp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5BA96814-9B06-6845-88C3-45BA685D8729}"/>
                </a:ext>
              </a:extLst>
            </p:cNvPr>
            <p:cNvGrpSpPr/>
            <p:nvPr/>
          </p:nvGrpSpPr>
          <p:grpSpPr>
            <a:xfrm>
              <a:off x="4020975" y="3830386"/>
              <a:ext cx="1540503" cy="1099494"/>
              <a:chOff x="7600580" y="1180275"/>
              <a:chExt cx="1968116" cy="1249714"/>
            </a:xfrm>
          </p:grpSpPr>
          <p:pic>
            <p:nvPicPr>
              <p:cNvPr id="12" name="Picture 11" descr="A picture containing clock&#10;&#10;Description automatically generated">
                <a:extLst>
                  <a:ext uri="{FF2B5EF4-FFF2-40B4-BE49-F238E27FC236}">
                    <a16:creationId xmlns:a16="http://schemas.microsoft.com/office/drawing/2014/main" id="{87F93C02-C6DD-694B-B33E-D521AAEC110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 flipH="1">
                <a:off x="8216737" y="1180275"/>
                <a:ext cx="735801" cy="735801"/>
              </a:xfrm>
              <a:prstGeom prst="rect">
                <a:avLst/>
              </a:prstGeom>
            </p:spPr>
          </p:pic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B98BD45B-A86B-7F48-97DB-63904742E41E}"/>
                  </a:ext>
                </a:extLst>
              </p:cNvPr>
              <p:cNvSpPr/>
              <p:nvPr/>
            </p:nvSpPr>
            <p:spPr>
              <a:xfrm>
                <a:off x="7600580" y="2132422"/>
                <a:ext cx="1968116" cy="29756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100" b="1" dirty="0">
                    <a:solidFill>
                      <a:srgbClr val="00B9C8"/>
                    </a:solidFill>
                    <a:latin typeface="Lato" panose="020F0502020204030203" pitchFamily="34" charset="77"/>
                  </a:rPr>
                  <a:t>AUCTIONS</a:t>
                </a:r>
              </a:p>
            </p:txBody>
          </p: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215602CC-D934-BB41-AD26-96586842E323}"/>
                </a:ext>
              </a:extLst>
            </p:cNvPr>
            <p:cNvGrpSpPr/>
            <p:nvPr/>
          </p:nvGrpSpPr>
          <p:grpSpPr>
            <a:xfrm>
              <a:off x="3023818" y="5031116"/>
              <a:ext cx="1540503" cy="990438"/>
              <a:chOff x="2988584" y="3528288"/>
              <a:chExt cx="1968116" cy="1125758"/>
            </a:xfrm>
          </p:grpSpPr>
          <p:pic>
            <p:nvPicPr>
              <p:cNvPr id="13" name="Picture 12" descr="A picture containing graphics&#10;&#10;Description automatically generated">
                <a:extLst>
                  <a:ext uri="{FF2B5EF4-FFF2-40B4-BE49-F238E27FC236}">
                    <a16:creationId xmlns:a16="http://schemas.microsoft.com/office/drawing/2014/main" id="{FB56EE83-B0F1-0B45-83B8-67F21196075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 flipH="1">
                <a:off x="3604741" y="3528288"/>
                <a:ext cx="735801" cy="735801"/>
              </a:xfrm>
              <a:prstGeom prst="rect">
                <a:avLst/>
              </a:prstGeom>
            </p:spPr>
          </p:pic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A3A67746-1AAB-1C4B-AC7A-AA6554314206}"/>
                  </a:ext>
                </a:extLst>
              </p:cNvPr>
              <p:cNvSpPr/>
              <p:nvPr/>
            </p:nvSpPr>
            <p:spPr>
              <a:xfrm>
                <a:off x="2988584" y="4356479"/>
                <a:ext cx="1968116" cy="29756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100" b="1" dirty="0">
                    <a:solidFill>
                      <a:srgbClr val="00B9C8"/>
                    </a:solidFill>
                    <a:latin typeface="Lato" panose="020F0502020204030203" pitchFamily="34" charset="77"/>
                  </a:rPr>
                  <a:t>CROWDFUNDING</a:t>
                </a:r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09B91C48-7736-504B-B8F5-83AEE82B1A02}"/>
                </a:ext>
              </a:extLst>
            </p:cNvPr>
            <p:cNvGrpSpPr/>
            <p:nvPr/>
          </p:nvGrpSpPr>
          <p:grpSpPr>
            <a:xfrm>
              <a:off x="4071110" y="5253311"/>
              <a:ext cx="1540503" cy="1171592"/>
              <a:chOff x="5294582" y="3528288"/>
              <a:chExt cx="1968116" cy="1331663"/>
            </a:xfrm>
          </p:grpSpPr>
          <p:pic>
            <p:nvPicPr>
              <p:cNvPr id="21" name="Picture 20" descr="A picture containing graphics, room&#10;&#10;Description automatically generated">
                <a:extLst>
                  <a:ext uri="{FF2B5EF4-FFF2-40B4-BE49-F238E27FC236}">
                    <a16:creationId xmlns:a16="http://schemas.microsoft.com/office/drawing/2014/main" id="{6CBC86EF-B0A1-8E49-9C17-548995F816F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 flipH="1">
                <a:off x="5830682" y="3528288"/>
                <a:ext cx="735801" cy="735801"/>
              </a:xfrm>
              <a:prstGeom prst="rect">
                <a:avLst/>
              </a:prstGeom>
            </p:spPr>
          </p:pic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00CEFF91-1092-6741-A7EE-640E7DFA504F}"/>
                  </a:ext>
                </a:extLst>
              </p:cNvPr>
              <p:cNvSpPr/>
              <p:nvPr/>
            </p:nvSpPr>
            <p:spPr>
              <a:xfrm>
                <a:off x="5294582" y="4378592"/>
                <a:ext cx="1968116" cy="48135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100" b="1" dirty="0">
                    <a:solidFill>
                      <a:srgbClr val="00B9C8"/>
                    </a:solidFill>
                    <a:latin typeface="Lato" panose="020F0502020204030203" pitchFamily="34" charset="77"/>
                  </a:rPr>
                  <a:t>SWEEPSTAKES</a:t>
                </a:r>
              </a:p>
              <a:p>
                <a:pPr algn="ctr"/>
                <a:r>
                  <a:rPr lang="en-US" sz="1050" dirty="0">
                    <a:solidFill>
                      <a:srgbClr val="566A6C"/>
                    </a:solidFill>
                    <a:latin typeface="Lato" panose="020F0502020204030203" pitchFamily="34" charset="77"/>
                  </a:rPr>
                  <a:t>.</a:t>
                </a:r>
              </a:p>
            </p:txBody>
          </p:sp>
        </p:grp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2EAF5064-E49B-B04D-843F-77ACFF24EE19}"/>
                </a:ext>
              </a:extLst>
            </p:cNvPr>
            <p:cNvGrpSpPr/>
            <p:nvPr/>
          </p:nvGrpSpPr>
          <p:grpSpPr>
            <a:xfrm>
              <a:off x="4990937" y="5008794"/>
              <a:ext cx="1540503" cy="1009893"/>
              <a:chOff x="7600580" y="3528288"/>
              <a:chExt cx="1968116" cy="1147871"/>
            </a:xfrm>
          </p:grpSpPr>
          <p:pic>
            <p:nvPicPr>
              <p:cNvPr id="20" name="Picture 19" descr="A picture containing graphics, clock&#10;&#10;Description automatically generated">
                <a:extLst>
                  <a:ext uri="{FF2B5EF4-FFF2-40B4-BE49-F238E27FC236}">
                    <a16:creationId xmlns:a16="http://schemas.microsoft.com/office/drawing/2014/main" id="{EC37CF8C-9D6A-BD48-A7B1-459AEB88E5A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 flipH="1">
                <a:off x="8234017" y="3528288"/>
                <a:ext cx="735801" cy="735801"/>
              </a:xfrm>
              <a:prstGeom prst="rect">
                <a:avLst/>
              </a:prstGeom>
            </p:spPr>
          </p:pic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DC903B59-2264-2545-8FE2-2EB2104891B6}"/>
                  </a:ext>
                </a:extLst>
              </p:cNvPr>
              <p:cNvSpPr/>
              <p:nvPr/>
            </p:nvSpPr>
            <p:spPr>
              <a:xfrm>
                <a:off x="7600580" y="4378592"/>
                <a:ext cx="1968116" cy="29756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100" b="1" dirty="0">
                    <a:solidFill>
                      <a:srgbClr val="00B9C8"/>
                    </a:solidFill>
                    <a:latin typeface="Lato" panose="020F0502020204030203" pitchFamily="34" charset="77"/>
                  </a:rPr>
                  <a:t>SALES</a:t>
                </a:r>
              </a:p>
            </p:txBody>
          </p:sp>
        </p:grp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34E1009B-F75C-F148-AB6F-87F7D764754E}"/>
                </a:ext>
              </a:extLst>
            </p:cNvPr>
            <p:cNvSpPr/>
            <p:nvPr/>
          </p:nvSpPr>
          <p:spPr bwMode="auto">
            <a:xfrm>
              <a:off x="3412809" y="3343517"/>
              <a:ext cx="2671965" cy="365213"/>
            </a:xfrm>
            <a:prstGeom prst="rect">
              <a:avLst/>
            </a:prstGeom>
            <a:solidFill>
              <a:srgbClr val="EF6B65"/>
            </a:solidFill>
          </p:spPr>
          <p:txBody>
            <a:bodyPr vert="horz" lIns="84406" tIns="84406" rIns="84406" bIns="84406" rtlCol="0" anchor="ctr" anchorCtr="0">
              <a:noAutofit/>
            </a:bodyPr>
            <a:lstStyle/>
            <a:p>
              <a:pPr algn="ctr">
                <a:spcBef>
                  <a:spcPts val="185"/>
                </a:spcBef>
                <a:spcAft>
                  <a:spcPts val="185"/>
                </a:spcAft>
              </a:pPr>
              <a:r>
                <a:rPr lang="en-US" sz="1477" b="1" dirty="0">
                  <a:solidFill>
                    <a:schemeClr val="bg1"/>
                  </a:solidFill>
                  <a:latin typeface="+mj-lt"/>
                </a:rPr>
                <a:t>Ducks Fundraising</a:t>
              </a:r>
            </a:p>
          </p:txBody>
        </p:sp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05973213-AAC0-144D-8073-FDD486418616}"/>
              </a:ext>
            </a:extLst>
          </p:cNvPr>
          <p:cNvSpPr/>
          <p:nvPr/>
        </p:nvSpPr>
        <p:spPr bwMode="auto">
          <a:xfrm>
            <a:off x="7911135" y="3336000"/>
            <a:ext cx="2464031" cy="365213"/>
          </a:xfrm>
          <a:prstGeom prst="rect">
            <a:avLst/>
          </a:prstGeom>
          <a:solidFill>
            <a:srgbClr val="EF6B65"/>
          </a:solidFill>
        </p:spPr>
        <p:txBody>
          <a:bodyPr vert="horz" lIns="84406" tIns="84406" rIns="84406" bIns="84406" rtlCol="0" anchor="ctr" anchorCtr="0">
            <a:noAutofit/>
          </a:bodyPr>
          <a:lstStyle/>
          <a:p>
            <a:pPr algn="ctr">
              <a:spcBef>
                <a:spcPts val="185"/>
              </a:spcBef>
              <a:spcAft>
                <a:spcPts val="185"/>
              </a:spcAft>
            </a:pPr>
            <a:r>
              <a:rPr lang="en-US" sz="1477" b="1" dirty="0">
                <a:solidFill>
                  <a:schemeClr val="bg1"/>
                </a:solidFill>
                <a:latin typeface="+mj-lt"/>
              </a:rPr>
              <a:t>Ducks Products</a:t>
            </a:r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3F2896AF-B0FD-A242-B0C8-5EFA3157F8E0}"/>
              </a:ext>
            </a:extLst>
          </p:cNvPr>
          <p:cNvSpPr/>
          <p:nvPr/>
        </p:nvSpPr>
        <p:spPr>
          <a:xfrm>
            <a:off x="1666506" y="2689168"/>
            <a:ext cx="8953995" cy="3648937"/>
          </a:xfrm>
          <a:prstGeom prst="round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666B3781-24FF-614A-A4C6-50AFFED6A6D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900885" y="3928571"/>
            <a:ext cx="2466986" cy="2192450"/>
          </a:xfrm>
          <a:prstGeom prst="rect">
            <a:avLst/>
          </a:prstGeom>
        </p:spPr>
      </p:pic>
      <p:pic>
        <p:nvPicPr>
          <p:cNvPr id="28" name="Picture 27" descr="A screenshot of a cell phone&#10;&#10;Description automatically generated">
            <a:extLst>
              <a:ext uri="{FF2B5EF4-FFF2-40B4-BE49-F238E27FC236}">
                <a16:creationId xmlns:a16="http://schemas.microsoft.com/office/drawing/2014/main" id="{8E6B7448-6902-A047-B9A5-7D2D66BDCC7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900285" y="3800498"/>
            <a:ext cx="2484859" cy="2270352"/>
          </a:xfrm>
          <a:prstGeom prst="rect">
            <a:avLst/>
          </a:prstGeom>
        </p:spPr>
      </p:pic>
      <p:pic>
        <p:nvPicPr>
          <p:cNvPr id="36" name="Picture 35" descr="A picture containing food&#10;&#10;Description automatically generated">
            <a:extLst>
              <a:ext uri="{FF2B5EF4-FFF2-40B4-BE49-F238E27FC236}">
                <a16:creationId xmlns:a16="http://schemas.microsoft.com/office/drawing/2014/main" id="{081E17D4-BFC7-404C-BAEB-CE0018A399A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806950" y="343333"/>
            <a:ext cx="2578100" cy="16383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2CD29CE-91FF-8646-BF81-C60AB777B668}"/>
              </a:ext>
            </a:extLst>
          </p:cNvPr>
          <p:cNvSpPr txBox="1"/>
          <p:nvPr/>
        </p:nvSpPr>
        <p:spPr>
          <a:xfrm>
            <a:off x="4433462" y="2165076"/>
            <a:ext cx="33185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(private label </a:t>
            </a:r>
            <a:r>
              <a:rPr lang="en-US" dirty="0" err="1"/>
              <a:t>Eventgroove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7304191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581550-0104-47F1-8094-06892A791E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bout Arni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49992B-3B85-4EE6-8C86-4B9E11B2B8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3786051" cy="4351338"/>
          </a:xfrm>
        </p:spPr>
        <p:txBody>
          <a:bodyPr/>
          <a:lstStyle/>
          <a:p>
            <a:r>
              <a:rPr lang="en-US" dirty="0"/>
              <a:t>5 Years at Ducks Unlimited</a:t>
            </a:r>
          </a:p>
          <a:p>
            <a:r>
              <a:rPr lang="en-US" dirty="0"/>
              <a:t>24 Years at FedEx</a:t>
            </a:r>
          </a:p>
          <a:p>
            <a:r>
              <a:rPr lang="en-US" dirty="0"/>
              <a:t>Enjoy Visiting New Orleans</a:t>
            </a:r>
          </a:p>
          <a:p>
            <a:r>
              <a:rPr lang="en-US" dirty="0"/>
              <a:t>Enjoy the Outdoors and Spending Time with Family</a:t>
            </a:r>
          </a:p>
        </p:txBody>
      </p:sp>
      <p:pic>
        <p:nvPicPr>
          <p:cNvPr id="6" name="Picture 5" descr="A group of people posing for the camera&#10;&#10;Description automatically generated">
            <a:extLst>
              <a:ext uri="{FF2B5EF4-FFF2-40B4-BE49-F238E27FC236}">
                <a16:creationId xmlns:a16="http://schemas.microsoft.com/office/drawing/2014/main" id="{06373929-AF0D-4FE1-9AF6-C9BB9850245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6800" y="692505"/>
            <a:ext cx="2943502" cy="3582278"/>
          </a:xfrm>
          <a:prstGeom prst="rect">
            <a:avLst/>
          </a:prstGeom>
        </p:spPr>
      </p:pic>
      <p:sp>
        <p:nvSpPr>
          <p:cNvPr id="7" name="AutoShape 2">
            <a:extLst>
              <a:ext uri="{FF2B5EF4-FFF2-40B4-BE49-F238E27FC236}">
                <a16:creationId xmlns:a16="http://schemas.microsoft.com/office/drawing/2014/main" id="{75ECDA03-8B39-49C3-B6F0-68F555D4503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BB153F3-99C5-4AE2-AB57-8F3F4D897A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7154" y="3109595"/>
            <a:ext cx="4511040" cy="3383280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FBC73BA-8EFE-41A9-995E-59F5159FA6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B 2020 Developer's Conference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0237408-53CB-4AE4-A044-77E879DA12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958E42-E2A2-4C86-9E0E-440C3912DFB4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63429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BB89BA-6336-4D83-85AF-3CEF78EF84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D4A10F-6B1F-418F-8FA2-EF16EB28D29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hallenge I – Event Creation and Promotion</a:t>
            </a:r>
          </a:p>
          <a:p>
            <a:r>
              <a:rPr lang="en-US" dirty="0"/>
              <a:t>The Event Ecosystem</a:t>
            </a:r>
          </a:p>
          <a:p>
            <a:r>
              <a:rPr lang="en-US" dirty="0"/>
              <a:t>Event Sequence and Demo</a:t>
            </a:r>
          </a:p>
          <a:p>
            <a:r>
              <a:rPr lang="en-US" dirty="0"/>
              <a:t>Challenge II – Events in D365 F&amp;O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CAF0329-DFB6-4469-8DBF-8E9D22D8BE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B 2020 Developer's Conference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AFBE038-721B-408F-AB7D-6C293A8FDF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958E42-E2A2-4C86-9E0E-440C3912DFB4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50276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7D15B5-7627-436F-BC0C-DAE12514DE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The Challenge Part I - Creating/Promoting Even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4D2F83-DEEE-42F2-A1A8-C0D9CEA931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963854"/>
            <a:ext cx="10515600" cy="4351338"/>
          </a:xfrm>
        </p:spPr>
        <p:txBody>
          <a:bodyPr vert="horz" lIns="91440" tIns="45720" rIns="91440" bIns="45720" rtlCol="0" anchor="t">
            <a:normAutofit lnSpcReduction="10000"/>
          </a:bodyPr>
          <a:lstStyle/>
          <a:p>
            <a:r>
              <a:rPr lang="en-US" dirty="0"/>
              <a:t>DU [Typically] Holds over 6,000 Fundraising Events a Year</a:t>
            </a:r>
          </a:p>
          <a:p>
            <a:pPr lvl="1"/>
            <a:r>
              <a:rPr lang="en-US" dirty="0"/>
              <a:t>Supported by 90+ Regional Directors Based Across the Country</a:t>
            </a:r>
          </a:p>
          <a:p>
            <a:r>
              <a:rPr lang="en-US" dirty="0"/>
              <a:t>Event Capabilities in BBCRM/BBIS Not Conducive to the Volume or Diversity of Users</a:t>
            </a:r>
          </a:p>
          <a:p>
            <a:r>
              <a:rPr lang="en-US" dirty="0"/>
              <a:t>Engaged third party platform partner -- </a:t>
            </a:r>
            <a:r>
              <a:rPr lang="en-US" dirty="0" err="1"/>
              <a:t>Eventgroove</a:t>
            </a:r>
            <a:r>
              <a:rPr lang="en-US" dirty="0"/>
              <a:t> -- for Enterprise Event Management, Fundraising, and Products  (</a:t>
            </a:r>
            <a:r>
              <a:rPr lang="en-US" dirty="0" err="1"/>
              <a:t>Eventgroove</a:t>
            </a:r>
            <a:r>
              <a:rPr lang="en-US" dirty="0"/>
              <a:t> Information in Appendix)</a:t>
            </a:r>
          </a:p>
          <a:p>
            <a:r>
              <a:rPr lang="en-US" dirty="0"/>
              <a:t>Event Promotion is also Critical with the Ability to Communicate to:</a:t>
            </a:r>
          </a:p>
          <a:p>
            <a:pPr lvl="1"/>
            <a:r>
              <a:rPr lang="en-US" dirty="0"/>
              <a:t>Past Attendees</a:t>
            </a:r>
          </a:p>
          <a:p>
            <a:pPr lvl="1"/>
            <a:r>
              <a:rPr lang="en-US" dirty="0"/>
              <a:t>Members of a Chapter</a:t>
            </a:r>
          </a:p>
          <a:p>
            <a:pPr lvl="1"/>
            <a:r>
              <a:rPr lang="en-US" dirty="0"/>
              <a:t>Members in a State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3D75862-1F34-4E6B-A710-288DCCC411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B 2020 Developer's Conference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16B38FD-E301-478A-91C9-B5558608FD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958E42-E2A2-4C86-9E0E-440C3912DFB4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45161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2D8A1-F545-4108-AA87-4A7606A149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95049"/>
          </a:xfrm>
        </p:spPr>
        <p:txBody>
          <a:bodyPr/>
          <a:lstStyle/>
          <a:p>
            <a:r>
              <a:rPr lang="en-US" b="1" dirty="0"/>
              <a:t>The Event Ecosystem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3C17CFB4-9091-4B66-93D1-A8B8A623061F}"/>
              </a:ext>
            </a:extLst>
          </p:cNvPr>
          <p:cNvSpPr/>
          <p:nvPr/>
        </p:nvSpPr>
        <p:spPr>
          <a:xfrm>
            <a:off x="509450" y="3421074"/>
            <a:ext cx="1985554" cy="1680754"/>
          </a:xfrm>
          <a:prstGeom prst="roundRect">
            <a:avLst/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BCRM</a:t>
            </a:r>
          </a:p>
          <a:p>
            <a:pPr algn="ctr"/>
            <a:r>
              <a:rPr lang="en-US" dirty="0"/>
              <a:t>(Azure)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08672AC-7CFA-4EAB-9AE6-CD1772E4C1AA}"/>
              </a:ext>
            </a:extLst>
          </p:cNvPr>
          <p:cNvGrpSpPr/>
          <p:nvPr/>
        </p:nvGrpSpPr>
        <p:grpSpPr>
          <a:xfrm>
            <a:off x="6757852" y="2592978"/>
            <a:ext cx="1985554" cy="3365863"/>
            <a:chOff x="6757852" y="2592978"/>
            <a:chExt cx="1985554" cy="3365863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6AEEF9BF-72F5-4591-9C0A-2DDD58E5CA5D}"/>
                </a:ext>
              </a:extLst>
            </p:cNvPr>
            <p:cNvSpPr/>
            <p:nvPr/>
          </p:nvSpPr>
          <p:spPr>
            <a:xfrm>
              <a:off x="6757852" y="2592978"/>
              <a:ext cx="1985554" cy="1680754"/>
            </a:xfrm>
            <a:prstGeom prst="roundRect">
              <a:avLst/>
            </a:prstGeom>
            <a:solidFill>
              <a:srgbClr val="92D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err="1">
                  <a:solidFill>
                    <a:schemeClr val="tx1"/>
                  </a:solidFill>
                </a:rPr>
                <a:t>Eventgroove</a:t>
              </a:r>
              <a:r>
                <a:rPr lang="en-US" dirty="0">
                  <a:solidFill>
                    <a:schemeClr val="tx1"/>
                  </a:solidFill>
                </a:rPr>
                <a:t> -</a:t>
              </a:r>
            </a:p>
            <a:p>
              <a:pPr algn="ctr"/>
              <a:r>
                <a:rPr lang="en-US" dirty="0">
                  <a:solidFill>
                    <a:schemeClr val="tx1"/>
                  </a:solidFill>
                </a:rPr>
                <a:t>Event Platform &amp; Private Label</a:t>
              </a:r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B10FAEAE-6B7B-477A-B472-EBAC6847FF61}"/>
                </a:ext>
              </a:extLst>
            </p:cNvPr>
            <p:cNvSpPr/>
            <p:nvPr/>
          </p:nvSpPr>
          <p:spPr>
            <a:xfrm>
              <a:off x="6757852" y="4278087"/>
              <a:ext cx="1985554" cy="1680754"/>
            </a:xfrm>
            <a:prstGeom prst="roundRect">
              <a:avLst/>
            </a:prstGeom>
            <a:solidFill>
              <a:srgbClr val="92D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err="1">
                  <a:solidFill>
                    <a:schemeClr val="tx1"/>
                  </a:solidFill>
                </a:rPr>
                <a:t>Eventgroove</a:t>
              </a:r>
              <a:endParaRPr lang="en-US" dirty="0">
                <a:solidFill>
                  <a:schemeClr val="tx1"/>
                </a:solidFill>
              </a:endParaRPr>
            </a:p>
            <a:p>
              <a:pPr algn="ctr"/>
              <a:r>
                <a:rPr lang="en-US" dirty="0">
                  <a:solidFill>
                    <a:schemeClr val="tx1"/>
                  </a:solidFill>
                </a:rPr>
                <a:t>Marketing, </a:t>
              </a:r>
              <a:r>
                <a:rPr lang="en-US">
                  <a:solidFill>
                    <a:schemeClr val="tx1"/>
                  </a:solidFill>
                </a:rPr>
                <a:t>Registration/ Ticketing</a:t>
              </a:r>
              <a:endParaRPr lang="en-US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AC30702C-C4EA-42B5-8084-B4A0A21072A4}"/>
              </a:ext>
            </a:extLst>
          </p:cNvPr>
          <p:cNvGrpSpPr/>
          <p:nvPr/>
        </p:nvGrpSpPr>
        <p:grpSpPr>
          <a:xfrm>
            <a:off x="8743406" y="3081475"/>
            <a:ext cx="2939144" cy="2384513"/>
            <a:chOff x="8743406" y="3081475"/>
            <a:chExt cx="2939144" cy="2384513"/>
          </a:xfrm>
        </p:grpSpPr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F9D7E05B-8917-4933-BE57-D7E7AC65CDA1}"/>
                </a:ext>
              </a:extLst>
            </p:cNvPr>
            <p:cNvSpPr/>
            <p:nvPr/>
          </p:nvSpPr>
          <p:spPr>
            <a:xfrm>
              <a:off x="9696996" y="3081475"/>
              <a:ext cx="1985554" cy="695049"/>
            </a:xfrm>
            <a:prstGeom prst="roundRect">
              <a:avLst/>
            </a:prstGeom>
            <a:solidFill>
              <a:schemeClr val="accent6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Ducks.org</a:t>
              </a:r>
            </a:p>
            <a:p>
              <a:pPr algn="ctr"/>
              <a:r>
                <a:rPr lang="en-US" dirty="0">
                  <a:solidFill>
                    <a:schemeClr val="tx1"/>
                  </a:solidFill>
                </a:rPr>
                <a:t>Website</a:t>
              </a:r>
            </a:p>
          </p:txBody>
        </p:sp>
        <p:cxnSp>
          <p:nvCxnSpPr>
            <p:cNvPr id="20" name="Straight Arrow Connector 19">
              <a:extLst>
                <a:ext uri="{FF2B5EF4-FFF2-40B4-BE49-F238E27FC236}">
                  <a16:creationId xmlns:a16="http://schemas.microsoft.com/office/drawing/2014/main" id="{BAEEC697-DA08-4AD9-B247-178977BEE38B}"/>
                </a:ext>
              </a:extLst>
            </p:cNvPr>
            <p:cNvCxnSpPr>
              <a:cxnSpLocks/>
              <a:endCxn id="6" idx="3"/>
            </p:cNvCxnSpPr>
            <p:nvPr/>
          </p:nvCxnSpPr>
          <p:spPr>
            <a:xfrm flipH="1">
              <a:off x="8743406" y="3431175"/>
              <a:ext cx="953590" cy="2180"/>
            </a:xfrm>
            <a:prstGeom prst="straightConnector1">
              <a:avLst/>
            </a:prstGeom>
            <a:ln w="12700">
              <a:solidFill>
                <a:schemeClr val="tx1"/>
              </a:solidFill>
              <a:headEnd type="triangle" w="lg" len="lg"/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E49D9F46-BB18-4C5D-BB07-909973E9B231}"/>
                </a:ext>
              </a:extLst>
            </p:cNvPr>
            <p:cNvSpPr/>
            <p:nvPr/>
          </p:nvSpPr>
          <p:spPr>
            <a:xfrm>
              <a:off x="9696996" y="4770939"/>
              <a:ext cx="1985554" cy="695049"/>
            </a:xfrm>
            <a:prstGeom prst="roundRect">
              <a:avLst/>
            </a:prstGeom>
            <a:solidFill>
              <a:srgbClr val="00206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err="1">
                  <a:solidFill>
                    <a:schemeClr val="bg1"/>
                  </a:solidFill>
                </a:rPr>
                <a:t>eMail</a:t>
              </a:r>
              <a:r>
                <a:rPr lang="en-US" dirty="0">
                  <a:solidFill>
                    <a:schemeClr val="bg1"/>
                  </a:solidFill>
                </a:rPr>
                <a:t> Provider</a:t>
              </a:r>
            </a:p>
          </p:txBody>
        </p:sp>
        <p:cxnSp>
          <p:nvCxnSpPr>
            <p:cNvPr id="22" name="Straight Arrow Connector 21">
              <a:extLst>
                <a:ext uri="{FF2B5EF4-FFF2-40B4-BE49-F238E27FC236}">
                  <a16:creationId xmlns:a16="http://schemas.microsoft.com/office/drawing/2014/main" id="{0898E86D-2C4A-49B2-BD4C-94EE91EEFE1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743406" y="5121763"/>
              <a:ext cx="953590" cy="2180"/>
            </a:xfrm>
            <a:prstGeom prst="straightConnector1">
              <a:avLst/>
            </a:prstGeom>
            <a:ln w="12700">
              <a:solidFill>
                <a:schemeClr val="tx1"/>
              </a:solidFill>
              <a:headEnd type="triangle" w="lg" len="lg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DE568FE8-7738-4644-910C-ED30421FEEE0}"/>
              </a:ext>
            </a:extLst>
          </p:cNvPr>
          <p:cNvSpPr/>
          <p:nvPr/>
        </p:nvSpPr>
        <p:spPr>
          <a:xfrm>
            <a:off x="9696996" y="637246"/>
            <a:ext cx="1985554" cy="1680754"/>
          </a:xfrm>
          <a:prstGeom prst="round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D365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Finance and Operation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A5CEB7A-0382-4EF7-AE5F-F471A988074F}"/>
              </a:ext>
            </a:extLst>
          </p:cNvPr>
          <p:cNvGrpSpPr/>
          <p:nvPr/>
        </p:nvGrpSpPr>
        <p:grpSpPr>
          <a:xfrm>
            <a:off x="1502227" y="1070279"/>
            <a:ext cx="8194769" cy="4888562"/>
            <a:chOff x="1502227" y="1070279"/>
            <a:chExt cx="8194769" cy="4888562"/>
          </a:xfrm>
        </p:grpSpPr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C3835817-E6D4-4436-846D-03504D0E4496}"/>
                </a:ext>
              </a:extLst>
            </p:cNvPr>
            <p:cNvCxnSpPr>
              <a:cxnSpLocks/>
              <a:stCxn id="7" idx="1"/>
              <a:endCxn id="9" idx="4"/>
            </p:cNvCxnSpPr>
            <p:nvPr/>
          </p:nvCxnSpPr>
          <p:spPr>
            <a:xfrm flipH="1" flipV="1">
              <a:off x="4937188" y="5098407"/>
              <a:ext cx="1820664" cy="20057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triangle" w="lg" len="lg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43BDB266-EC50-4FBD-8BD4-63122230D0B1}"/>
                </a:ext>
              </a:extLst>
            </p:cNvPr>
            <p:cNvSpPr/>
            <p:nvPr/>
          </p:nvSpPr>
          <p:spPr>
            <a:xfrm>
              <a:off x="3820887" y="2588623"/>
              <a:ext cx="1145177" cy="3370218"/>
            </a:xfrm>
            <a:custGeom>
              <a:avLst/>
              <a:gdLst>
                <a:gd name="connsiteX0" fmla="*/ 0 w 1136468"/>
                <a:gd name="connsiteY0" fmla="*/ 189415 h 3370218"/>
                <a:gd name="connsiteX1" fmla="*/ 189415 w 1136468"/>
                <a:gd name="connsiteY1" fmla="*/ 0 h 3370218"/>
                <a:gd name="connsiteX2" fmla="*/ 947053 w 1136468"/>
                <a:gd name="connsiteY2" fmla="*/ 0 h 3370218"/>
                <a:gd name="connsiteX3" fmla="*/ 1136468 w 1136468"/>
                <a:gd name="connsiteY3" fmla="*/ 189415 h 3370218"/>
                <a:gd name="connsiteX4" fmla="*/ 1136468 w 1136468"/>
                <a:gd name="connsiteY4" fmla="*/ 3180803 h 3370218"/>
                <a:gd name="connsiteX5" fmla="*/ 947053 w 1136468"/>
                <a:gd name="connsiteY5" fmla="*/ 3370218 h 3370218"/>
                <a:gd name="connsiteX6" fmla="*/ 189415 w 1136468"/>
                <a:gd name="connsiteY6" fmla="*/ 3370218 h 3370218"/>
                <a:gd name="connsiteX7" fmla="*/ 0 w 1136468"/>
                <a:gd name="connsiteY7" fmla="*/ 3180803 h 3370218"/>
                <a:gd name="connsiteX8" fmla="*/ 0 w 1136468"/>
                <a:gd name="connsiteY8" fmla="*/ 189415 h 3370218"/>
                <a:gd name="connsiteX0" fmla="*/ 0 w 1145177"/>
                <a:gd name="connsiteY0" fmla="*/ 189415 h 3370218"/>
                <a:gd name="connsiteX1" fmla="*/ 189415 w 1145177"/>
                <a:gd name="connsiteY1" fmla="*/ 0 h 3370218"/>
                <a:gd name="connsiteX2" fmla="*/ 947053 w 1145177"/>
                <a:gd name="connsiteY2" fmla="*/ 0 h 3370218"/>
                <a:gd name="connsiteX3" fmla="*/ 1136468 w 1145177"/>
                <a:gd name="connsiteY3" fmla="*/ 189415 h 3370218"/>
                <a:gd name="connsiteX4" fmla="*/ 1145177 w 1145177"/>
                <a:gd name="connsiteY4" fmla="*/ 2423157 h 3370218"/>
                <a:gd name="connsiteX5" fmla="*/ 947053 w 1145177"/>
                <a:gd name="connsiteY5" fmla="*/ 3370218 h 3370218"/>
                <a:gd name="connsiteX6" fmla="*/ 189415 w 1145177"/>
                <a:gd name="connsiteY6" fmla="*/ 3370218 h 3370218"/>
                <a:gd name="connsiteX7" fmla="*/ 0 w 1145177"/>
                <a:gd name="connsiteY7" fmla="*/ 3180803 h 3370218"/>
                <a:gd name="connsiteX8" fmla="*/ 0 w 1145177"/>
                <a:gd name="connsiteY8" fmla="*/ 189415 h 3370218"/>
                <a:gd name="connsiteX0" fmla="*/ 0 w 1145177"/>
                <a:gd name="connsiteY0" fmla="*/ 189415 h 3370218"/>
                <a:gd name="connsiteX1" fmla="*/ 189415 w 1145177"/>
                <a:gd name="connsiteY1" fmla="*/ 0 h 3370218"/>
                <a:gd name="connsiteX2" fmla="*/ 947053 w 1145177"/>
                <a:gd name="connsiteY2" fmla="*/ 0 h 3370218"/>
                <a:gd name="connsiteX3" fmla="*/ 1145177 w 1145177"/>
                <a:gd name="connsiteY3" fmla="*/ 807723 h 3370218"/>
                <a:gd name="connsiteX4" fmla="*/ 1145177 w 1145177"/>
                <a:gd name="connsiteY4" fmla="*/ 2423157 h 3370218"/>
                <a:gd name="connsiteX5" fmla="*/ 947053 w 1145177"/>
                <a:gd name="connsiteY5" fmla="*/ 3370218 h 3370218"/>
                <a:gd name="connsiteX6" fmla="*/ 189415 w 1145177"/>
                <a:gd name="connsiteY6" fmla="*/ 3370218 h 3370218"/>
                <a:gd name="connsiteX7" fmla="*/ 0 w 1145177"/>
                <a:gd name="connsiteY7" fmla="*/ 3180803 h 3370218"/>
                <a:gd name="connsiteX8" fmla="*/ 0 w 1145177"/>
                <a:gd name="connsiteY8" fmla="*/ 189415 h 3370218"/>
                <a:gd name="connsiteX0" fmla="*/ 0 w 1162594"/>
                <a:gd name="connsiteY0" fmla="*/ 189415 h 3370218"/>
                <a:gd name="connsiteX1" fmla="*/ 189415 w 1162594"/>
                <a:gd name="connsiteY1" fmla="*/ 0 h 3370218"/>
                <a:gd name="connsiteX2" fmla="*/ 947053 w 1162594"/>
                <a:gd name="connsiteY2" fmla="*/ 0 h 3370218"/>
                <a:gd name="connsiteX3" fmla="*/ 1162594 w 1162594"/>
                <a:gd name="connsiteY3" fmla="*/ 981894 h 3370218"/>
                <a:gd name="connsiteX4" fmla="*/ 1145177 w 1162594"/>
                <a:gd name="connsiteY4" fmla="*/ 2423157 h 3370218"/>
                <a:gd name="connsiteX5" fmla="*/ 947053 w 1162594"/>
                <a:gd name="connsiteY5" fmla="*/ 3370218 h 3370218"/>
                <a:gd name="connsiteX6" fmla="*/ 189415 w 1162594"/>
                <a:gd name="connsiteY6" fmla="*/ 3370218 h 3370218"/>
                <a:gd name="connsiteX7" fmla="*/ 0 w 1162594"/>
                <a:gd name="connsiteY7" fmla="*/ 3180803 h 3370218"/>
                <a:gd name="connsiteX8" fmla="*/ 0 w 1162594"/>
                <a:gd name="connsiteY8" fmla="*/ 189415 h 3370218"/>
                <a:gd name="connsiteX0" fmla="*/ 0 w 1145177"/>
                <a:gd name="connsiteY0" fmla="*/ 189415 h 3370218"/>
                <a:gd name="connsiteX1" fmla="*/ 189415 w 1145177"/>
                <a:gd name="connsiteY1" fmla="*/ 0 h 3370218"/>
                <a:gd name="connsiteX2" fmla="*/ 947053 w 1145177"/>
                <a:gd name="connsiteY2" fmla="*/ 0 h 3370218"/>
                <a:gd name="connsiteX3" fmla="*/ 1145177 w 1145177"/>
                <a:gd name="connsiteY3" fmla="*/ 842557 h 3370218"/>
                <a:gd name="connsiteX4" fmla="*/ 1145177 w 1145177"/>
                <a:gd name="connsiteY4" fmla="*/ 2423157 h 3370218"/>
                <a:gd name="connsiteX5" fmla="*/ 947053 w 1145177"/>
                <a:gd name="connsiteY5" fmla="*/ 3370218 h 3370218"/>
                <a:gd name="connsiteX6" fmla="*/ 189415 w 1145177"/>
                <a:gd name="connsiteY6" fmla="*/ 3370218 h 3370218"/>
                <a:gd name="connsiteX7" fmla="*/ 0 w 1145177"/>
                <a:gd name="connsiteY7" fmla="*/ 3180803 h 3370218"/>
                <a:gd name="connsiteX8" fmla="*/ 0 w 1145177"/>
                <a:gd name="connsiteY8" fmla="*/ 189415 h 3370218"/>
                <a:gd name="connsiteX0" fmla="*/ 0 w 1145177"/>
                <a:gd name="connsiteY0" fmla="*/ 189415 h 3370218"/>
                <a:gd name="connsiteX1" fmla="*/ 189415 w 1145177"/>
                <a:gd name="connsiteY1" fmla="*/ 0 h 3370218"/>
                <a:gd name="connsiteX2" fmla="*/ 947053 w 1145177"/>
                <a:gd name="connsiteY2" fmla="*/ 0 h 3370218"/>
                <a:gd name="connsiteX3" fmla="*/ 1145177 w 1145177"/>
                <a:gd name="connsiteY3" fmla="*/ 842557 h 3370218"/>
                <a:gd name="connsiteX4" fmla="*/ 1125926 w 1145177"/>
                <a:gd name="connsiteY4" fmla="*/ 2577161 h 3370218"/>
                <a:gd name="connsiteX5" fmla="*/ 947053 w 1145177"/>
                <a:gd name="connsiteY5" fmla="*/ 3370218 h 3370218"/>
                <a:gd name="connsiteX6" fmla="*/ 189415 w 1145177"/>
                <a:gd name="connsiteY6" fmla="*/ 3370218 h 3370218"/>
                <a:gd name="connsiteX7" fmla="*/ 0 w 1145177"/>
                <a:gd name="connsiteY7" fmla="*/ 3180803 h 3370218"/>
                <a:gd name="connsiteX8" fmla="*/ 0 w 1145177"/>
                <a:gd name="connsiteY8" fmla="*/ 189415 h 3370218"/>
                <a:gd name="connsiteX0" fmla="*/ 0 w 1145177"/>
                <a:gd name="connsiteY0" fmla="*/ 189415 h 3370218"/>
                <a:gd name="connsiteX1" fmla="*/ 189415 w 1145177"/>
                <a:gd name="connsiteY1" fmla="*/ 0 h 3370218"/>
                <a:gd name="connsiteX2" fmla="*/ 947053 w 1145177"/>
                <a:gd name="connsiteY2" fmla="*/ 0 h 3370218"/>
                <a:gd name="connsiteX3" fmla="*/ 1145177 w 1145177"/>
                <a:gd name="connsiteY3" fmla="*/ 842557 h 3370218"/>
                <a:gd name="connsiteX4" fmla="*/ 1116301 w 1145177"/>
                <a:gd name="connsiteY4" fmla="*/ 2509784 h 3370218"/>
                <a:gd name="connsiteX5" fmla="*/ 947053 w 1145177"/>
                <a:gd name="connsiteY5" fmla="*/ 3370218 h 3370218"/>
                <a:gd name="connsiteX6" fmla="*/ 189415 w 1145177"/>
                <a:gd name="connsiteY6" fmla="*/ 3370218 h 3370218"/>
                <a:gd name="connsiteX7" fmla="*/ 0 w 1145177"/>
                <a:gd name="connsiteY7" fmla="*/ 3180803 h 3370218"/>
                <a:gd name="connsiteX8" fmla="*/ 0 w 1145177"/>
                <a:gd name="connsiteY8" fmla="*/ 189415 h 3370218"/>
                <a:gd name="connsiteX0" fmla="*/ 0 w 1145177"/>
                <a:gd name="connsiteY0" fmla="*/ 834307 h 3370218"/>
                <a:gd name="connsiteX1" fmla="*/ 189415 w 1145177"/>
                <a:gd name="connsiteY1" fmla="*/ 0 h 3370218"/>
                <a:gd name="connsiteX2" fmla="*/ 947053 w 1145177"/>
                <a:gd name="connsiteY2" fmla="*/ 0 h 3370218"/>
                <a:gd name="connsiteX3" fmla="*/ 1145177 w 1145177"/>
                <a:gd name="connsiteY3" fmla="*/ 842557 h 3370218"/>
                <a:gd name="connsiteX4" fmla="*/ 1116301 w 1145177"/>
                <a:gd name="connsiteY4" fmla="*/ 2509784 h 3370218"/>
                <a:gd name="connsiteX5" fmla="*/ 947053 w 1145177"/>
                <a:gd name="connsiteY5" fmla="*/ 3370218 h 3370218"/>
                <a:gd name="connsiteX6" fmla="*/ 189415 w 1145177"/>
                <a:gd name="connsiteY6" fmla="*/ 3370218 h 3370218"/>
                <a:gd name="connsiteX7" fmla="*/ 0 w 1145177"/>
                <a:gd name="connsiteY7" fmla="*/ 3180803 h 3370218"/>
                <a:gd name="connsiteX8" fmla="*/ 0 w 1145177"/>
                <a:gd name="connsiteY8" fmla="*/ 834307 h 3370218"/>
                <a:gd name="connsiteX0" fmla="*/ 0 w 1145177"/>
                <a:gd name="connsiteY0" fmla="*/ 834307 h 3370218"/>
                <a:gd name="connsiteX1" fmla="*/ 189415 w 1145177"/>
                <a:gd name="connsiteY1" fmla="*/ 0 h 3370218"/>
                <a:gd name="connsiteX2" fmla="*/ 947053 w 1145177"/>
                <a:gd name="connsiteY2" fmla="*/ 0 h 3370218"/>
                <a:gd name="connsiteX3" fmla="*/ 1145177 w 1145177"/>
                <a:gd name="connsiteY3" fmla="*/ 842557 h 3370218"/>
                <a:gd name="connsiteX4" fmla="*/ 1116301 w 1145177"/>
                <a:gd name="connsiteY4" fmla="*/ 2509784 h 3370218"/>
                <a:gd name="connsiteX5" fmla="*/ 947053 w 1145177"/>
                <a:gd name="connsiteY5" fmla="*/ 3370218 h 3370218"/>
                <a:gd name="connsiteX6" fmla="*/ 189415 w 1145177"/>
                <a:gd name="connsiteY6" fmla="*/ 3370218 h 3370218"/>
                <a:gd name="connsiteX7" fmla="*/ 19250 w 1145177"/>
                <a:gd name="connsiteY7" fmla="*/ 2507035 h 3370218"/>
                <a:gd name="connsiteX8" fmla="*/ 0 w 1145177"/>
                <a:gd name="connsiteY8" fmla="*/ 834307 h 3370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5177" h="3370218">
                  <a:moveTo>
                    <a:pt x="0" y="834307"/>
                  </a:moveTo>
                  <a:cubicBezTo>
                    <a:pt x="0" y="729696"/>
                    <a:pt x="84804" y="0"/>
                    <a:pt x="189415" y="0"/>
                  </a:cubicBezTo>
                  <a:lnTo>
                    <a:pt x="947053" y="0"/>
                  </a:lnTo>
                  <a:cubicBezTo>
                    <a:pt x="1051664" y="0"/>
                    <a:pt x="1145177" y="737946"/>
                    <a:pt x="1145177" y="842557"/>
                  </a:cubicBezTo>
                  <a:lnTo>
                    <a:pt x="1116301" y="2509784"/>
                  </a:lnTo>
                  <a:cubicBezTo>
                    <a:pt x="1116301" y="2614395"/>
                    <a:pt x="1051664" y="3370218"/>
                    <a:pt x="947053" y="3370218"/>
                  </a:cubicBezTo>
                  <a:lnTo>
                    <a:pt x="189415" y="3370218"/>
                  </a:lnTo>
                  <a:cubicBezTo>
                    <a:pt x="84804" y="3370218"/>
                    <a:pt x="19250" y="2611646"/>
                    <a:pt x="19250" y="2507035"/>
                  </a:cubicBezTo>
                  <a:lnTo>
                    <a:pt x="0" y="834307"/>
                  </a:lnTo>
                  <a:close/>
                </a:path>
              </a:pathLst>
            </a:cu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DU API</a:t>
              </a:r>
            </a:p>
            <a:p>
              <a:pPr algn="ctr"/>
              <a:r>
                <a:rPr lang="en-US" dirty="0">
                  <a:solidFill>
                    <a:schemeClr val="tx1"/>
                  </a:solidFill>
                </a:rPr>
                <a:t>Gateway</a:t>
              </a:r>
            </a:p>
          </p:txBody>
        </p:sp>
        <p:cxnSp>
          <p:nvCxnSpPr>
            <p:cNvPr id="17" name="Straight Arrow Connector 16">
              <a:extLst>
                <a:ext uri="{FF2B5EF4-FFF2-40B4-BE49-F238E27FC236}">
                  <a16:creationId xmlns:a16="http://schemas.microsoft.com/office/drawing/2014/main" id="{C536D93A-04F7-4052-BC03-CA28BD13581F}"/>
                </a:ext>
              </a:extLst>
            </p:cNvPr>
            <p:cNvCxnSpPr>
              <a:cxnSpLocks/>
              <a:endCxn id="10" idx="3"/>
            </p:cNvCxnSpPr>
            <p:nvPr/>
          </p:nvCxnSpPr>
          <p:spPr>
            <a:xfrm flipH="1" flipV="1">
              <a:off x="2495004" y="4261451"/>
              <a:ext cx="1325883" cy="12281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triangle" w="lg" len="lg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4887901C-2FC4-4C92-9A18-EA53408DF107}"/>
                </a:ext>
              </a:extLst>
            </p:cNvPr>
            <p:cNvCxnSpPr>
              <a:stCxn id="6" idx="1"/>
              <a:endCxn id="9" idx="3"/>
            </p:cNvCxnSpPr>
            <p:nvPr/>
          </p:nvCxnSpPr>
          <p:spPr>
            <a:xfrm flipH="1" flipV="1">
              <a:off x="4966064" y="3431180"/>
              <a:ext cx="1791788" cy="2175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triangle" w="lg" len="lg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nector: Elbow 24">
              <a:extLst>
                <a:ext uri="{FF2B5EF4-FFF2-40B4-BE49-F238E27FC236}">
                  <a16:creationId xmlns:a16="http://schemas.microsoft.com/office/drawing/2014/main" id="{C86F932C-A609-4DC0-B304-FB78C9D173D5}"/>
                </a:ext>
              </a:extLst>
            </p:cNvPr>
            <p:cNvCxnSpPr>
              <a:stCxn id="10" idx="0"/>
              <a:endCxn id="23" idx="1"/>
            </p:cNvCxnSpPr>
            <p:nvPr/>
          </p:nvCxnSpPr>
          <p:spPr>
            <a:xfrm rot="5400000" flipH="1" flipV="1">
              <a:off x="4627886" y="-1648035"/>
              <a:ext cx="1943451" cy="8194769"/>
            </a:xfrm>
            <a:prstGeom prst="bentConnector2">
              <a:avLst/>
            </a:prstGeom>
            <a:ln w="12700">
              <a:solidFill>
                <a:srgbClr val="FF0000"/>
              </a:solidFill>
              <a:headEnd type="none" w="lg" len="lg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Rectangle: Rounded Corners 8">
              <a:extLst>
                <a:ext uri="{FF2B5EF4-FFF2-40B4-BE49-F238E27FC236}">
                  <a16:creationId xmlns:a16="http://schemas.microsoft.com/office/drawing/2014/main" id="{7ABFD7D5-8833-44DB-8E48-0D3599B350A1}"/>
                </a:ext>
              </a:extLst>
            </p:cNvPr>
            <p:cNvSpPr/>
            <p:nvPr/>
          </p:nvSpPr>
          <p:spPr>
            <a:xfrm>
              <a:off x="5166361" y="1070279"/>
              <a:ext cx="1145177" cy="797165"/>
            </a:xfrm>
            <a:custGeom>
              <a:avLst/>
              <a:gdLst>
                <a:gd name="connsiteX0" fmla="*/ 0 w 1136468"/>
                <a:gd name="connsiteY0" fmla="*/ 189415 h 3370218"/>
                <a:gd name="connsiteX1" fmla="*/ 189415 w 1136468"/>
                <a:gd name="connsiteY1" fmla="*/ 0 h 3370218"/>
                <a:gd name="connsiteX2" fmla="*/ 947053 w 1136468"/>
                <a:gd name="connsiteY2" fmla="*/ 0 h 3370218"/>
                <a:gd name="connsiteX3" fmla="*/ 1136468 w 1136468"/>
                <a:gd name="connsiteY3" fmla="*/ 189415 h 3370218"/>
                <a:gd name="connsiteX4" fmla="*/ 1136468 w 1136468"/>
                <a:gd name="connsiteY4" fmla="*/ 3180803 h 3370218"/>
                <a:gd name="connsiteX5" fmla="*/ 947053 w 1136468"/>
                <a:gd name="connsiteY5" fmla="*/ 3370218 h 3370218"/>
                <a:gd name="connsiteX6" fmla="*/ 189415 w 1136468"/>
                <a:gd name="connsiteY6" fmla="*/ 3370218 h 3370218"/>
                <a:gd name="connsiteX7" fmla="*/ 0 w 1136468"/>
                <a:gd name="connsiteY7" fmla="*/ 3180803 h 3370218"/>
                <a:gd name="connsiteX8" fmla="*/ 0 w 1136468"/>
                <a:gd name="connsiteY8" fmla="*/ 189415 h 3370218"/>
                <a:gd name="connsiteX0" fmla="*/ 0 w 1145177"/>
                <a:gd name="connsiteY0" fmla="*/ 189415 h 3370218"/>
                <a:gd name="connsiteX1" fmla="*/ 189415 w 1145177"/>
                <a:gd name="connsiteY1" fmla="*/ 0 h 3370218"/>
                <a:gd name="connsiteX2" fmla="*/ 947053 w 1145177"/>
                <a:gd name="connsiteY2" fmla="*/ 0 h 3370218"/>
                <a:gd name="connsiteX3" fmla="*/ 1136468 w 1145177"/>
                <a:gd name="connsiteY3" fmla="*/ 189415 h 3370218"/>
                <a:gd name="connsiteX4" fmla="*/ 1145177 w 1145177"/>
                <a:gd name="connsiteY4" fmla="*/ 2423157 h 3370218"/>
                <a:gd name="connsiteX5" fmla="*/ 947053 w 1145177"/>
                <a:gd name="connsiteY5" fmla="*/ 3370218 h 3370218"/>
                <a:gd name="connsiteX6" fmla="*/ 189415 w 1145177"/>
                <a:gd name="connsiteY6" fmla="*/ 3370218 h 3370218"/>
                <a:gd name="connsiteX7" fmla="*/ 0 w 1145177"/>
                <a:gd name="connsiteY7" fmla="*/ 3180803 h 3370218"/>
                <a:gd name="connsiteX8" fmla="*/ 0 w 1145177"/>
                <a:gd name="connsiteY8" fmla="*/ 189415 h 3370218"/>
                <a:gd name="connsiteX0" fmla="*/ 0 w 1145177"/>
                <a:gd name="connsiteY0" fmla="*/ 189415 h 3370218"/>
                <a:gd name="connsiteX1" fmla="*/ 189415 w 1145177"/>
                <a:gd name="connsiteY1" fmla="*/ 0 h 3370218"/>
                <a:gd name="connsiteX2" fmla="*/ 947053 w 1145177"/>
                <a:gd name="connsiteY2" fmla="*/ 0 h 3370218"/>
                <a:gd name="connsiteX3" fmla="*/ 1145177 w 1145177"/>
                <a:gd name="connsiteY3" fmla="*/ 807723 h 3370218"/>
                <a:gd name="connsiteX4" fmla="*/ 1145177 w 1145177"/>
                <a:gd name="connsiteY4" fmla="*/ 2423157 h 3370218"/>
                <a:gd name="connsiteX5" fmla="*/ 947053 w 1145177"/>
                <a:gd name="connsiteY5" fmla="*/ 3370218 h 3370218"/>
                <a:gd name="connsiteX6" fmla="*/ 189415 w 1145177"/>
                <a:gd name="connsiteY6" fmla="*/ 3370218 h 3370218"/>
                <a:gd name="connsiteX7" fmla="*/ 0 w 1145177"/>
                <a:gd name="connsiteY7" fmla="*/ 3180803 h 3370218"/>
                <a:gd name="connsiteX8" fmla="*/ 0 w 1145177"/>
                <a:gd name="connsiteY8" fmla="*/ 189415 h 3370218"/>
                <a:gd name="connsiteX0" fmla="*/ 0 w 1162594"/>
                <a:gd name="connsiteY0" fmla="*/ 189415 h 3370218"/>
                <a:gd name="connsiteX1" fmla="*/ 189415 w 1162594"/>
                <a:gd name="connsiteY1" fmla="*/ 0 h 3370218"/>
                <a:gd name="connsiteX2" fmla="*/ 947053 w 1162594"/>
                <a:gd name="connsiteY2" fmla="*/ 0 h 3370218"/>
                <a:gd name="connsiteX3" fmla="*/ 1162594 w 1162594"/>
                <a:gd name="connsiteY3" fmla="*/ 981894 h 3370218"/>
                <a:gd name="connsiteX4" fmla="*/ 1145177 w 1162594"/>
                <a:gd name="connsiteY4" fmla="*/ 2423157 h 3370218"/>
                <a:gd name="connsiteX5" fmla="*/ 947053 w 1162594"/>
                <a:gd name="connsiteY5" fmla="*/ 3370218 h 3370218"/>
                <a:gd name="connsiteX6" fmla="*/ 189415 w 1162594"/>
                <a:gd name="connsiteY6" fmla="*/ 3370218 h 3370218"/>
                <a:gd name="connsiteX7" fmla="*/ 0 w 1162594"/>
                <a:gd name="connsiteY7" fmla="*/ 3180803 h 3370218"/>
                <a:gd name="connsiteX8" fmla="*/ 0 w 1162594"/>
                <a:gd name="connsiteY8" fmla="*/ 189415 h 3370218"/>
                <a:gd name="connsiteX0" fmla="*/ 0 w 1145177"/>
                <a:gd name="connsiteY0" fmla="*/ 189415 h 3370218"/>
                <a:gd name="connsiteX1" fmla="*/ 189415 w 1145177"/>
                <a:gd name="connsiteY1" fmla="*/ 0 h 3370218"/>
                <a:gd name="connsiteX2" fmla="*/ 947053 w 1145177"/>
                <a:gd name="connsiteY2" fmla="*/ 0 h 3370218"/>
                <a:gd name="connsiteX3" fmla="*/ 1145177 w 1145177"/>
                <a:gd name="connsiteY3" fmla="*/ 842557 h 3370218"/>
                <a:gd name="connsiteX4" fmla="*/ 1145177 w 1145177"/>
                <a:gd name="connsiteY4" fmla="*/ 2423157 h 3370218"/>
                <a:gd name="connsiteX5" fmla="*/ 947053 w 1145177"/>
                <a:gd name="connsiteY5" fmla="*/ 3370218 h 3370218"/>
                <a:gd name="connsiteX6" fmla="*/ 189415 w 1145177"/>
                <a:gd name="connsiteY6" fmla="*/ 3370218 h 3370218"/>
                <a:gd name="connsiteX7" fmla="*/ 0 w 1145177"/>
                <a:gd name="connsiteY7" fmla="*/ 3180803 h 3370218"/>
                <a:gd name="connsiteX8" fmla="*/ 0 w 1145177"/>
                <a:gd name="connsiteY8" fmla="*/ 189415 h 3370218"/>
                <a:gd name="connsiteX0" fmla="*/ 0 w 1145177"/>
                <a:gd name="connsiteY0" fmla="*/ 189415 h 3370218"/>
                <a:gd name="connsiteX1" fmla="*/ 189415 w 1145177"/>
                <a:gd name="connsiteY1" fmla="*/ 0 h 3370218"/>
                <a:gd name="connsiteX2" fmla="*/ 947053 w 1145177"/>
                <a:gd name="connsiteY2" fmla="*/ 0 h 3370218"/>
                <a:gd name="connsiteX3" fmla="*/ 1145177 w 1145177"/>
                <a:gd name="connsiteY3" fmla="*/ 842557 h 3370218"/>
                <a:gd name="connsiteX4" fmla="*/ 1125926 w 1145177"/>
                <a:gd name="connsiteY4" fmla="*/ 2577161 h 3370218"/>
                <a:gd name="connsiteX5" fmla="*/ 947053 w 1145177"/>
                <a:gd name="connsiteY5" fmla="*/ 3370218 h 3370218"/>
                <a:gd name="connsiteX6" fmla="*/ 189415 w 1145177"/>
                <a:gd name="connsiteY6" fmla="*/ 3370218 h 3370218"/>
                <a:gd name="connsiteX7" fmla="*/ 0 w 1145177"/>
                <a:gd name="connsiteY7" fmla="*/ 3180803 h 3370218"/>
                <a:gd name="connsiteX8" fmla="*/ 0 w 1145177"/>
                <a:gd name="connsiteY8" fmla="*/ 189415 h 3370218"/>
                <a:gd name="connsiteX0" fmla="*/ 0 w 1145177"/>
                <a:gd name="connsiteY0" fmla="*/ 189415 h 3370218"/>
                <a:gd name="connsiteX1" fmla="*/ 189415 w 1145177"/>
                <a:gd name="connsiteY1" fmla="*/ 0 h 3370218"/>
                <a:gd name="connsiteX2" fmla="*/ 947053 w 1145177"/>
                <a:gd name="connsiteY2" fmla="*/ 0 h 3370218"/>
                <a:gd name="connsiteX3" fmla="*/ 1145177 w 1145177"/>
                <a:gd name="connsiteY3" fmla="*/ 842557 h 3370218"/>
                <a:gd name="connsiteX4" fmla="*/ 1116301 w 1145177"/>
                <a:gd name="connsiteY4" fmla="*/ 2509784 h 3370218"/>
                <a:gd name="connsiteX5" fmla="*/ 947053 w 1145177"/>
                <a:gd name="connsiteY5" fmla="*/ 3370218 h 3370218"/>
                <a:gd name="connsiteX6" fmla="*/ 189415 w 1145177"/>
                <a:gd name="connsiteY6" fmla="*/ 3370218 h 3370218"/>
                <a:gd name="connsiteX7" fmla="*/ 0 w 1145177"/>
                <a:gd name="connsiteY7" fmla="*/ 3180803 h 3370218"/>
                <a:gd name="connsiteX8" fmla="*/ 0 w 1145177"/>
                <a:gd name="connsiteY8" fmla="*/ 189415 h 3370218"/>
                <a:gd name="connsiteX0" fmla="*/ 0 w 1145177"/>
                <a:gd name="connsiteY0" fmla="*/ 834307 h 3370218"/>
                <a:gd name="connsiteX1" fmla="*/ 189415 w 1145177"/>
                <a:gd name="connsiteY1" fmla="*/ 0 h 3370218"/>
                <a:gd name="connsiteX2" fmla="*/ 947053 w 1145177"/>
                <a:gd name="connsiteY2" fmla="*/ 0 h 3370218"/>
                <a:gd name="connsiteX3" fmla="*/ 1145177 w 1145177"/>
                <a:gd name="connsiteY3" fmla="*/ 842557 h 3370218"/>
                <a:gd name="connsiteX4" fmla="*/ 1116301 w 1145177"/>
                <a:gd name="connsiteY4" fmla="*/ 2509784 h 3370218"/>
                <a:gd name="connsiteX5" fmla="*/ 947053 w 1145177"/>
                <a:gd name="connsiteY5" fmla="*/ 3370218 h 3370218"/>
                <a:gd name="connsiteX6" fmla="*/ 189415 w 1145177"/>
                <a:gd name="connsiteY6" fmla="*/ 3370218 h 3370218"/>
                <a:gd name="connsiteX7" fmla="*/ 0 w 1145177"/>
                <a:gd name="connsiteY7" fmla="*/ 3180803 h 3370218"/>
                <a:gd name="connsiteX8" fmla="*/ 0 w 1145177"/>
                <a:gd name="connsiteY8" fmla="*/ 834307 h 3370218"/>
                <a:gd name="connsiteX0" fmla="*/ 0 w 1145177"/>
                <a:gd name="connsiteY0" fmla="*/ 834307 h 3370218"/>
                <a:gd name="connsiteX1" fmla="*/ 189415 w 1145177"/>
                <a:gd name="connsiteY1" fmla="*/ 0 h 3370218"/>
                <a:gd name="connsiteX2" fmla="*/ 947053 w 1145177"/>
                <a:gd name="connsiteY2" fmla="*/ 0 h 3370218"/>
                <a:gd name="connsiteX3" fmla="*/ 1145177 w 1145177"/>
                <a:gd name="connsiteY3" fmla="*/ 842557 h 3370218"/>
                <a:gd name="connsiteX4" fmla="*/ 1116301 w 1145177"/>
                <a:gd name="connsiteY4" fmla="*/ 2509784 h 3370218"/>
                <a:gd name="connsiteX5" fmla="*/ 947053 w 1145177"/>
                <a:gd name="connsiteY5" fmla="*/ 3370218 h 3370218"/>
                <a:gd name="connsiteX6" fmla="*/ 189415 w 1145177"/>
                <a:gd name="connsiteY6" fmla="*/ 3370218 h 3370218"/>
                <a:gd name="connsiteX7" fmla="*/ 19250 w 1145177"/>
                <a:gd name="connsiteY7" fmla="*/ 2507035 h 3370218"/>
                <a:gd name="connsiteX8" fmla="*/ 0 w 1145177"/>
                <a:gd name="connsiteY8" fmla="*/ 834307 h 3370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5177" h="3370218">
                  <a:moveTo>
                    <a:pt x="0" y="834307"/>
                  </a:moveTo>
                  <a:cubicBezTo>
                    <a:pt x="0" y="729696"/>
                    <a:pt x="84804" y="0"/>
                    <a:pt x="189415" y="0"/>
                  </a:cubicBezTo>
                  <a:lnTo>
                    <a:pt x="947053" y="0"/>
                  </a:lnTo>
                  <a:cubicBezTo>
                    <a:pt x="1051664" y="0"/>
                    <a:pt x="1145177" y="737946"/>
                    <a:pt x="1145177" y="842557"/>
                  </a:cubicBezTo>
                  <a:lnTo>
                    <a:pt x="1116301" y="2509784"/>
                  </a:lnTo>
                  <a:cubicBezTo>
                    <a:pt x="1116301" y="2614395"/>
                    <a:pt x="1051664" y="3370218"/>
                    <a:pt x="947053" y="3370218"/>
                  </a:cubicBezTo>
                  <a:lnTo>
                    <a:pt x="189415" y="3370218"/>
                  </a:lnTo>
                  <a:cubicBezTo>
                    <a:pt x="84804" y="3370218"/>
                    <a:pt x="19250" y="2611646"/>
                    <a:pt x="19250" y="2507035"/>
                  </a:cubicBezTo>
                  <a:lnTo>
                    <a:pt x="0" y="834307"/>
                  </a:lnTo>
                  <a:close/>
                </a:path>
              </a:pathLst>
            </a:cu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err="1">
                  <a:solidFill>
                    <a:schemeClr val="tx1"/>
                  </a:solidFill>
                </a:rPr>
                <a:t>LogicApps</a:t>
              </a:r>
              <a:endParaRPr 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818F87-0F6D-4E8D-9C80-442C982FC2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B 2020 Developer's Conference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CCDD69-22BD-48F9-8201-0A7F389CFD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958E42-E2A2-4C86-9E0E-440C3912DFB4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56281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23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2D8A1-F545-4108-AA87-4A7606A149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95049"/>
          </a:xfrm>
        </p:spPr>
        <p:txBody>
          <a:bodyPr/>
          <a:lstStyle/>
          <a:p>
            <a:r>
              <a:rPr lang="en-US" b="1" dirty="0" err="1"/>
              <a:t>EventGroove</a:t>
            </a:r>
            <a:r>
              <a:rPr lang="en-US" b="1" dirty="0"/>
              <a:t> to BBCRM - REST Sequence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D356577A-99FF-4968-ACB1-15BED8DAF55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36617"/>
            <a:ext cx="10515600" cy="4940346"/>
          </a:xfrm>
        </p:spPr>
        <p:txBody>
          <a:bodyPr>
            <a:normAutofit lnSpcReduction="10000"/>
          </a:bodyPr>
          <a:lstStyle/>
          <a:p>
            <a:r>
              <a:rPr lang="en-US" dirty="0"/>
              <a:t>Key DU Fundamental</a:t>
            </a:r>
          </a:p>
          <a:p>
            <a:pPr lvl="1"/>
            <a:r>
              <a:rPr lang="en-US" dirty="0"/>
              <a:t>Event  Lookup ID = Event Appeal Name</a:t>
            </a:r>
          </a:p>
          <a:p>
            <a:endParaRPr lang="en-US" dirty="0"/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GET Site – To Get the Event Chapter GUID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POST Event – Finite Set of Items + Value from #1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GET Event by GUID – To Get Event Lookup ID with GUID from #2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POST APPEAL – Appeal Name is Event  Lookup ID from #3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PUT APPEAL – Link the Appeal to the Event</a:t>
            </a:r>
          </a:p>
          <a:p>
            <a:pPr marL="514350" indent="-514350">
              <a:buFont typeface="+mj-lt"/>
              <a:buAutoNum type="arabicPeriod"/>
            </a:pPr>
            <a:endParaRPr lang="en-US" dirty="0"/>
          </a:p>
          <a:p>
            <a:pPr marL="0" indent="0">
              <a:buNone/>
            </a:pPr>
            <a:r>
              <a:rPr lang="en-US" dirty="0"/>
              <a:t>Ticket Options and Venues Managed in </a:t>
            </a:r>
            <a:r>
              <a:rPr lang="en-US" dirty="0" err="1"/>
              <a:t>Eventgroove</a:t>
            </a:r>
            <a:endParaRPr lang="en-US" dirty="0"/>
          </a:p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AC0103A-4C0B-47E3-B16A-C0E42B492E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B 2020 Developer's Conference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6F42D63-5E0C-4AB7-82FD-834B62C5E9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958E42-E2A2-4C86-9E0E-440C3912DFB4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30303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2D8A1-F545-4108-AA87-4A7606A149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95049"/>
          </a:xfrm>
        </p:spPr>
        <p:txBody>
          <a:bodyPr/>
          <a:lstStyle/>
          <a:p>
            <a:r>
              <a:rPr lang="en-US" b="1" dirty="0"/>
              <a:t>Example and  Demo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F3F014B-BD70-413F-82BC-4BEB220D13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4970417" cy="4351338"/>
          </a:xfrm>
        </p:spPr>
        <p:txBody>
          <a:bodyPr>
            <a:normAutofit fontScale="85000" lnSpcReduction="10000"/>
          </a:bodyPr>
          <a:lstStyle/>
          <a:p>
            <a:pPr marL="0" indent="0">
              <a:buNone/>
            </a:pPr>
            <a:r>
              <a:rPr lang="en-US" dirty="0"/>
              <a:t>{</a:t>
            </a:r>
          </a:p>
          <a:p>
            <a:pPr marL="0" indent="0">
              <a:buNone/>
            </a:pPr>
            <a:r>
              <a:rPr lang="en-US" dirty="0"/>
              <a:t>  "function": "create",</a:t>
            </a:r>
          </a:p>
          <a:p>
            <a:pPr marL="0" indent="0">
              <a:buNone/>
            </a:pPr>
            <a:r>
              <a:rPr lang="en-US" dirty="0"/>
              <a:t>  "</a:t>
            </a:r>
            <a:r>
              <a:rPr lang="en-US" dirty="0" err="1"/>
              <a:t>chapterLookupId</a:t>
            </a:r>
            <a:r>
              <a:rPr lang="en-US" dirty="0"/>
              <a:t>": "ID-0004",  </a:t>
            </a:r>
          </a:p>
          <a:p>
            <a:pPr marL="0" indent="0">
              <a:buNone/>
            </a:pPr>
            <a:r>
              <a:rPr lang="en-US" dirty="0"/>
              <a:t>  "</a:t>
            </a:r>
            <a:r>
              <a:rPr lang="en-US" dirty="0" err="1"/>
              <a:t>eventLookupID</a:t>
            </a:r>
            <a:r>
              <a:rPr lang="en-US" dirty="0"/>
              <a:t>":"",</a:t>
            </a:r>
          </a:p>
          <a:p>
            <a:pPr marL="0" indent="0">
              <a:buNone/>
            </a:pPr>
            <a:r>
              <a:rPr lang="en-US" dirty="0"/>
              <a:t>  "name": “Snake River Spring Event",</a:t>
            </a:r>
          </a:p>
          <a:p>
            <a:pPr marL="0" indent="0">
              <a:buNone/>
            </a:pPr>
            <a:r>
              <a:rPr lang="en-US" dirty="0"/>
              <a:t>  "</a:t>
            </a:r>
            <a:r>
              <a:rPr lang="en-US" dirty="0" err="1"/>
              <a:t>startdate</a:t>
            </a:r>
            <a:r>
              <a:rPr lang="en-US" dirty="0"/>
              <a:t>": "2020-03-08T18:00:00",</a:t>
            </a:r>
          </a:p>
          <a:p>
            <a:pPr marL="0" indent="0">
              <a:buNone/>
            </a:pPr>
            <a:r>
              <a:rPr lang="en-US" dirty="0"/>
              <a:t>  "</a:t>
            </a:r>
            <a:r>
              <a:rPr lang="en-US" dirty="0" err="1"/>
              <a:t>enddate</a:t>
            </a:r>
            <a:r>
              <a:rPr lang="en-US" dirty="0"/>
              <a:t>": "2020-03-08T22:30:00",</a:t>
            </a:r>
          </a:p>
          <a:p>
            <a:pPr marL="0" indent="0">
              <a:buNone/>
            </a:pPr>
            <a:r>
              <a:rPr lang="en-US" dirty="0"/>
              <a:t>  "capacity":300,</a:t>
            </a:r>
          </a:p>
          <a:p>
            <a:pPr marL="0" indent="0">
              <a:buNone/>
            </a:pPr>
            <a:r>
              <a:rPr lang="en-US" dirty="0"/>
              <a:t>  "</a:t>
            </a:r>
            <a:r>
              <a:rPr lang="en-US" dirty="0" err="1"/>
              <a:t>category":"Dinner</a:t>
            </a:r>
            <a:r>
              <a:rPr lang="en-US" dirty="0"/>
              <a:t> or Banquet",</a:t>
            </a:r>
          </a:p>
          <a:p>
            <a:pPr marL="0" indent="0">
              <a:buNone/>
            </a:pPr>
            <a:r>
              <a:rPr lang="en-US" dirty="0"/>
              <a:t>}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0F4DE521-A6FA-4FCF-8472-EEC8B2466392}"/>
              </a:ext>
            </a:extLst>
          </p:cNvPr>
          <p:cNvSpPr txBox="1">
            <a:spLocks/>
          </p:cNvSpPr>
          <p:nvPr/>
        </p:nvSpPr>
        <p:spPr>
          <a:xfrm>
            <a:off x="6267994" y="1725476"/>
            <a:ext cx="4970417" cy="4351338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rgbClr val="FFFF00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FFFF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FFFF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FF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FF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>
                <a:solidFill>
                  <a:srgbClr val="002060"/>
                </a:solidFill>
              </a:rPr>
              <a:t>{</a:t>
            </a:r>
          </a:p>
          <a:p>
            <a:pPr marL="0" indent="0">
              <a:buNone/>
            </a:pPr>
            <a:r>
              <a:rPr lang="en-US" dirty="0">
                <a:solidFill>
                  <a:srgbClr val="002060"/>
                </a:solidFill>
              </a:rPr>
              <a:t>  "function": "update",</a:t>
            </a:r>
          </a:p>
          <a:p>
            <a:pPr marL="0" indent="0">
              <a:buNone/>
            </a:pPr>
            <a:r>
              <a:rPr lang="en-US" dirty="0">
                <a:solidFill>
                  <a:srgbClr val="002060"/>
                </a:solidFill>
              </a:rPr>
              <a:t>  "</a:t>
            </a:r>
            <a:r>
              <a:rPr lang="en-US" dirty="0" err="1">
                <a:solidFill>
                  <a:srgbClr val="002060"/>
                </a:solidFill>
              </a:rPr>
              <a:t>EventLookupId</a:t>
            </a:r>
            <a:r>
              <a:rPr lang="en-US" dirty="0">
                <a:solidFill>
                  <a:srgbClr val="002060"/>
                </a:solidFill>
              </a:rPr>
              <a:t>": "EVT-10202876", </a:t>
            </a:r>
          </a:p>
          <a:p>
            <a:pPr marL="0" indent="0">
              <a:buNone/>
            </a:pPr>
            <a:r>
              <a:rPr lang="en-US" dirty="0">
                <a:solidFill>
                  <a:srgbClr val="002060"/>
                </a:solidFill>
              </a:rPr>
              <a:t>  "name": “Snake River Winter Event",</a:t>
            </a:r>
          </a:p>
          <a:p>
            <a:pPr marL="0" indent="0">
              <a:buNone/>
            </a:pPr>
            <a:r>
              <a:rPr lang="en-US" dirty="0">
                <a:solidFill>
                  <a:srgbClr val="002060"/>
                </a:solidFill>
              </a:rPr>
              <a:t>  "</a:t>
            </a:r>
            <a:r>
              <a:rPr lang="en-US" dirty="0" err="1">
                <a:solidFill>
                  <a:srgbClr val="002060"/>
                </a:solidFill>
              </a:rPr>
              <a:t>startdate</a:t>
            </a:r>
            <a:r>
              <a:rPr lang="en-US" dirty="0">
                <a:solidFill>
                  <a:srgbClr val="002060"/>
                </a:solidFill>
              </a:rPr>
              <a:t>": "2020-11-22T18:00:00",</a:t>
            </a:r>
          </a:p>
          <a:p>
            <a:pPr marL="0" indent="0">
              <a:buNone/>
            </a:pPr>
            <a:r>
              <a:rPr lang="en-US" dirty="0">
                <a:solidFill>
                  <a:srgbClr val="002060"/>
                </a:solidFill>
              </a:rPr>
              <a:t>  "</a:t>
            </a:r>
            <a:r>
              <a:rPr lang="en-US" dirty="0" err="1">
                <a:solidFill>
                  <a:srgbClr val="002060"/>
                </a:solidFill>
              </a:rPr>
              <a:t>enddate</a:t>
            </a:r>
            <a:r>
              <a:rPr lang="en-US" dirty="0">
                <a:solidFill>
                  <a:srgbClr val="002060"/>
                </a:solidFill>
              </a:rPr>
              <a:t>": "2020-11-22T22:30:00",</a:t>
            </a:r>
          </a:p>
          <a:p>
            <a:pPr marL="0" indent="0">
              <a:buNone/>
            </a:pPr>
            <a:r>
              <a:rPr lang="en-US" dirty="0">
                <a:solidFill>
                  <a:srgbClr val="002060"/>
                </a:solidFill>
              </a:rPr>
              <a:t>  "</a:t>
            </a:r>
            <a:r>
              <a:rPr lang="en-US" dirty="0" err="1">
                <a:solidFill>
                  <a:srgbClr val="002060"/>
                </a:solidFill>
              </a:rPr>
              <a:t>category":"Dinner</a:t>
            </a:r>
            <a:r>
              <a:rPr lang="en-US" dirty="0">
                <a:solidFill>
                  <a:srgbClr val="002060"/>
                </a:solidFill>
              </a:rPr>
              <a:t> or Banquet",</a:t>
            </a:r>
          </a:p>
          <a:p>
            <a:pPr marL="0" indent="0">
              <a:buNone/>
            </a:pPr>
            <a:r>
              <a:rPr lang="en-US" dirty="0">
                <a:solidFill>
                  <a:srgbClr val="002060"/>
                </a:solidFill>
              </a:rPr>
              <a:t>  "capacity":333</a:t>
            </a:r>
          </a:p>
          <a:p>
            <a:pPr marL="0" indent="0">
              <a:buNone/>
            </a:pPr>
            <a:r>
              <a:rPr lang="en-US" dirty="0">
                <a:solidFill>
                  <a:srgbClr val="002060"/>
                </a:solidFill>
              </a:rPr>
              <a:t>}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B3E7C6F-382A-4901-B78B-C7BD5E8953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B 2020 Developer's Conference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1CBE41F-1B6E-4341-8BC5-1CBA38FA8F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958E42-E2A2-4C86-9E0E-440C3912DFB4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90953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2D8A1-F545-4108-AA87-4A7606A149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95049"/>
          </a:xfrm>
        </p:spPr>
        <p:txBody>
          <a:bodyPr/>
          <a:lstStyle/>
          <a:p>
            <a:r>
              <a:rPr lang="en-US" b="1" dirty="0"/>
              <a:t>Shout Out and Future Opportuniti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D356577A-99FF-4968-ACB1-15BED8DAF55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36617"/>
            <a:ext cx="10515600" cy="4940346"/>
          </a:xfrm>
        </p:spPr>
        <p:txBody>
          <a:bodyPr>
            <a:normAutofit lnSpcReduction="10000"/>
          </a:bodyPr>
          <a:lstStyle/>
          <a:p>
            <a:r>
              <a:rPr lang="en-US" sz="3200" dirty="0"/>
              <a:t>Great Support by Patton and Team During our Event Development</a:t>
            </a:r>
          </a:p>
          <a:p>
            <a:pPr lvl="1"/>
            <a:r>
              <a:rPr lang="en-US" sz="2800" dirty="0"/>
              <a:t>PUT Event</a:t>
            </a:r>
          </a:p>
          <a:p>
            <a:pPr lvl="1"/>
            <a:r>
              <a:rPr lang="en-US" sz="2800" dirty="0"/>
              <a:t>Linking Appeal to Event</a:t>
            </a:r>
          </a:p>
          <a:p>
            <a:endParaRPr lang="en-US" sz="3200" dirty="0"/>
          </a:p>
          <a:p>
            <a:r>
              <a:rPr lang="en-US" sz="3200" dirty="0"/>
              <a:t>Manage Credentials via REST </a:t>
            </a:r>
          </a:p>
          <a:p>
            <a:pPr lvl="1"/>
            <a:r>
              <a:rPr lang="en-US" sz="2800" dirty="0"/>
              <a:t>Reset Expired Passwords via API</a:t>
            </a:r>
          </a:p>
          <a:p>
            <a:r>
              <a:rPr lang="en-US" sz="3200" dirty="0"/>
              <a:t>Subscription Key Management</a:t>
            </a:r>
          </a:p>
          <a:p>
            <a:pPr lvl="1"/>
            <a:r>
              <a:rPr lang="en-US" sz="2800" dirty="0"/>
              <a:t>Desire is to Assign A Key Per Interface Versus BBCRM Instance</a:t>
            </a:r>
          </a:p>
          <a:p>
            <a:r>
              <a:rPr lang="en-US" sz="3200" dirty="0"/>
              <a:t>“Wake Up” Time on REST – 1</a:t>
            </a:r>
            <a:r>
              <a:rPr lang="en-US" sz="3200" baseline="30000" dirty="0"/>
              <a:t>st</a:t>
            </a:r>
            <a:r>
              <a:rPr lang="en-US" sz="3200" dirty="0"/>
              <a:t> Transaction is 5x Longer</a:t>
            </a:r>
          </a:p>
          <a:p>
            <a:endParaRPr lang="en-US" sz="32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3488693-0543-44DF-AE2F-D7E6FE4F45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B 2020 Developer's Conference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91DD3-30D5-47C7-BCF9-45F68518E4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958E42-E2A2-4C86-9E0E-440C3912DFB4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40200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7D15B5-7627-436F-BC0C-DAE12514DE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The Challenge Part II – D365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4D2F83-DEEE-42F2-A1A8-C0D9CEA9315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3200" dirty="0"/>
              <a:t>Events are Required in Dynamics 365</a:t>
            </a:r>
          </a:p>
          <a:p>
            <a:pPr lvl="1"/>
            <a:r>
              <a:rPr lang="en-US" sz="2800"/>
              <a:t>Event Merchandise Ordering  </a:t>
            </a:r>
          </a:p>
          <a:p>
            <a:pPr lvl="1"/>
            <a:r>
              <a:rPr lang="en-US" sz="2800"/>
              <a:t>Events </a:t>
            </a:r>
            <a:r>
              <a:rPr lang="en-US" sz="2800" dirty="0"/>
              <a:t>are Projects in D365</a:t>
            </a:r>
          </a:p>
          <a:p>
            <a:pPr lvl="1"/>
            <a:r>
              <a:rPr lang="en-US" sz="2800"/>
              <a:t>Event </a:t>
            </a:r>
            <a:r>
              <a:rPr lang="en-US" sz="2800" dirty="0"/>
              <a:t>Merchandise Sourced from Memphis</a:t>
            </a:r>
          </a:p>
          <a:p>
            <a:r>
              <a:rPr lang="en-US" sz="3200" dirty="0"/>
              <a:t>In Legacy System:  Events are Batched Up Weekly for Upload into D365</a:t>
            </a:r>
          </a:p>
          <a:p>
            <a:r>
              <a:rPr lang="en-US" sz="3200" dirty="0"/>
              <a:t>Both New and Updated Events are Required in D365</a:t>
            </a:r>
          </a:p>
          <a:p>
            <a:r>
              <a:rPr lang="en-US" sz="3200" dirty="0"/>
              <a:t>Requirement:  A Zero Human Interventi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D93FB00-5853-41CF-9EB9-9982A9D99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B 2020 Developer's Conference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93AA167-6F38-4C34-A9AD-CCC10A451E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958E42-E2A2-4C86-9E0E-440C3912DFB4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64268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2.jpeg"/></Relationships>
</file>

<file path=ppt/theme/theme1.xml><?xml version="1.0" encoding="utf-8"?>
<a:theme xmlns:a="http://schemas.openxmlformats.org/drawingml/2006/main" name="Office Theme">
  <a:themeElements>
    <a:clrScheme name="Green">
      <a:dk1>
        <a:sysClr val="windowText" lastClr="000000"/>
      </a:dk1>
      <a:lt1>
        <a:sysClr val="window" lastClr="FFFFFF"/>
      </a:lt1>
      <a:dk2>
        <a:srgbClr val="455F51"/>
      </a:dk2>
      <a:lt2>
        <a:srgbClr val="E3DED1"/>
      </a:lt2>
      <a:accent1>
        <a:srgbClr val="549E39"/>
      </a:accent1>
      <a:accent2>
        <a:srgbClr val="8AB833"/>
      </a:accent2>
      <a:accent3>
        <a:srgbClr val="C0CF3A"/>
      </a:accent3>
      <a:accent4>
        <a:srgbClr val="029676"/>
      </a:accent4>
      <a:accent5>
        <a:srgbClr val="4AB5C4"/>
      </a:accent5>
      <a:accent6>
        <a:srgbClr val="0989B1"/>
      </a:accent6>
      <a:hlink>
        <a:srgbClr val="6B9F25"/>
      </a:hlink>
      <a:folHlink>
        <a:srgbClr val="BA6906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Ion Boardroom">
  <a:themeElements>
    <a:clrScheme name="10">
      <a:dk1>
        <a:srgbClr val="7F7F7F"/>
      </a:dk1>
      <a:lt1>
        <a:srgbClr val="FFFFFF"/>
      </a:lt1>
      <a:dk2>
        <a:srgbClr val="000000"/>
      </a:dk2>
      <a:lt2>
        <a:srgbClr val="FFFFFF"/>
      </a:lt2>
      <a:accent1>
        <a:srgbClr val="FEE304"/>
      </a:accent1>
      <a:accent2>
        <a:srgbClr val="0A0B08"/>
      </a:accent2>
      <a:accent3>
        <a:srgbClr val="BEBBBD"/>
      </a:accent3>
      <a:accent4>
        <a:srgbClr val="1688B9"/>
      </a:accent4>
      <a:accent5>
        <a:srgbClr val="F1EDF1"/>
      </a:accent5>
      <a:accent6>
        <a:srgbClr val="91969B"/>
      </a:accent6>
      <a:hlink>
        <a:srgbClr val="4B5050"/>
      </a:hlink>
      <a:folHlink>
        <a:srgbClr val="19BB9B"/>
      </a:folHlink>
    </a:clrScheme>
    <a:fontScheme name="Ion Boardroom">
      <a:maj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Ion Boardroom">
      <a:fillStyleLst>
        <a:solidFill>
          <a:schemeClr val="phClr"/>
        </a:solidFill>
        <a:gradFill rotWithShape="1">
          <a:gsLst>
            <a:gs pos="0">
              <a:schemeClr val="phClr">
                <a:tint val="64000"/>
                <a:lumMod val="118000"/>
              </a:schemeClr>
            </a:gs>
            <a:gs pos="100000">
              <a:schemeClr val="phClr">
                <a:tint val="92000"/>
                <a:alpha val="100000"/>
                <a:lumMod val="11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14000"/>
              </a:schemeClr>
            </a:gs>
            <a:gs pos="100000">
              <a:schemeClr val="phClr">
                <a:shade val="90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hueMod val="124000"/>
                <a:satMod val="148000"/>
                <a:lumMod val="124000"/>
              </a:schemeClr>
            </a:gs>
            <a:gs pos="100000">
              <a:schemeClr val="phClr">
                <a:shade val="76000"/>
                <a:hueMod val="89000"/>
                <a:satMod val="164000"/>
                <a:lumMod val="5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9000"/>
                <a:hueMod val="91000"/>
                <a:satMod val="164000"/>
                <a:lumMod val="74000"/>
              </a:schemeClr>
              <a:schemeClr val="phClr">
                <a:hueMod val="124000"/>
                <a:satMod val="140000"/>
                <a:lumMod val="142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on Boardroom" id="{FC33163D-4339-46B1-8EED-24C834239D99}" vid="{B8502691-933B-45FE-8764-BA278511EF27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1516B23D40F86408393327001F476A1" ma:contentTypeVersion="12" ma:contentTypeDescription="Create a new document." ma:contentTypeScope="" ma:versionID="84fe0fc8194675f8b433d39f62aefc6a">
  <xsd:schema xmlns:xsd="http://www.w3.org/2001/XMLSchema" xmlns:xs="http://www.w3.org/2001/XMLSchema" xmlns:p="http://schemas.microsoft.com/office/2006/metadata/properties" xmlns:ns3="aeaf9481-e3c2-4621-8d8b-de1c7c58384f" xmlns:ns4="af01c91e-c0a7-41e7-938c-2df27ef611b0" targetNamespace="http://schemas.microsoft.com/office/2006/metadata/properties" ma:root="true" ma:fieldsID="d519ee035a936fb7f3eafe7e4553c955" ns3:_="" ns4:_="">
    <xsd:import namespace="aeaf9481-e3c2-4621-8d8b-de1c7c58384f"/>
    <xsd:import namespace="af01c91e-c0a7-41e7-938c-2df27ef611b0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eaf9481-e3c2-4621-8d8b-de1c7c58384f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f01c91e-c0a7-41e7-938c-2df27ef611b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internalName="MediaServiceAutoTags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96724D2-0226-4602-9D82-731AA67A73E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2542F65-1475-40F8-9DD4-C942BFFC273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eaf9481-e3c2-4621-8d8b-de1c7c58384f"/>
    <ds:schemaRef ds:uri="af01c91e-c0a7-41e7-938c-2df27ef611b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542A7B0-F50E-462D-8F1E-A94344E384EF}">
  <ds:schemaRefs>
    <ds:schemaRef ds:uri="aeaf9481-e3c2-4621-8d8b-de1c7c58384f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af01c91e-c0a7-41e7-938c-2df27ef611b0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30</TotalTime>
  <Words>742</Words>
  <Application>Microsoft Office PowerPoint</Application>
  <PresentationFormat>Widescreen</PresentationFormat>
  <Paragraphs>190</Paragraphs>
  <Slides>1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8" baseType="lpstr">
      <vt:lpstr>Arial</vt:lpstr>
      <vt:lpstr>Calibri</vt:lpstr>
      <vt:lpstr>Calibri Light</vt:lpstr>
      <vt:lpstr>Century Gothic</vt:lpstr>
      <vt:lpstr>Franklin Gothic Book</vt:lpstr>
      <vt:lpstr>Lato</vt:lpstr>
      <vt:lpstr>Verdana</vt:lpstr>
      <vt:lpstr>Wingdings</vt:lpstr>
      <vt:lpstr>Wingdings 3</vt:lpstr>
      <vt:lpstr>Office Theme</vt:lpstr>
      <vt:lpstr>Ion Boardroom</vt:lpstr>
      <vt:lpstr>think-cell Slide</vt:lpstr>
      <vt:lpstr>Blackbaud Developer Conference</vt:lpstr>
      <vt:lpstr>About Arnie</vt:lpstr>
      <vt:lpstr>Agenda</vt:lpstr>
      <vt:lpstr>The Challenge Part I - Creating/Promoting Events</vt:lpstr>
      <vt:lpstr>The Event Ecosystem</vt:lpstr>
      <vt:lpstr>EventGroove to BBCRM - REST Sequence</vt:lpstr>
      <vt:lpstr>Example and  Demo</vt:lpstr>
      <vt:lpstr>Shout Out and Future Opportunities</vt:lpstr>
      <vt:lpstr>The Challenge Part II – D365</vt:lpstr>
      <vt:lpstr>The Components</vt:lpstr>
      <vt:lpstr>LogicApp</vt:lpstr>
      <vt:lpstr>D365 Finance and Operations</vt:lpstr>
      <vt:lpstr>D365 Finance and Operations</vt:lpstr>
      <vt:lpstr>Summary and Close Out</vt:lpstr>
      <vt:lpstr>The Event &amp; Fundraising Cycl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rnie Matson</dc:creator>
  <cp:lastModifiedBy>Arnie Matson</cp:lastModifiedBy>
  <cp:revision>2</cp:revision>
  <dcterms:created xsi:type="dcterms:W3CDTF">2020-07-29T13:33:36Z</dcterms:created>
  <dcterms:modified xsi:type="dcterms:W3CDTF">2020-08-06T17:32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1516B23D40F86408393327001F476A1</vt:lpwstr>
  </property>
</Properties>
</file>